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775" r:id="rId2"/>
    <p:sldMasterId id="2147483825" r:id="rId3"/>
    <p:sldMasterId id="2147483937" r:id="rId4"/>
  </p:sldMasterIdLst>
  <p:notesMasterIdLst>
    <p:notesMasterId r:id="rId9"/>
  </p:notesMasterIdLst>
  <p:handoutMasterIdLst>
    <p:handoutMasterId r:id="rId10"/>
  </p:handoutMasterIdLst>
  <p:sldIdLst>
    <p:sldId id="1666" r:id="rId5"/>
    <p:sldId id="1664" r:id="rId6"/>
    <p:sldId id="1668" r:id="rId7"/>
    <p:sldId id="1667" r:id="rId8"/>
  </p:sldIdLst>
  <p:sldSz cx="9144000" cy="6858000" type="screen4x3"/>
  <p:notesSz cx="7004050" cy="9217025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FF00"/>
    <a:srgbClr val="0000FF"/>
    <a:srgbClr val="33CCFF"/>
    <a:srgbClr val="009900"/>
    <a:srgbClr val="FF3300"/>
    <a:srgbClr val="FF99FF"/>
    <a:srgbClr val="1966FF"/>
    <a:srgbClr val="FFCC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Estilo claro 1 - Acento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Estilo temático 2 - Énfasis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Estilo temático 2 - Énfasis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Estilo temático 2 - Énfasis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54" autoAdjust="0"/>
    <p:restoredTop sz="99750" autoAdjust="0"/>
  </p:normalViewPr>
  <p:slideViewPr>
    <p:cSldViewPr snapToGrid="0">
      <p:cViewPr>
        <p:scale>
          <a:sx n="70" d="100"/>
          <a:sy n="70" d="100"/>
        </p:scale>
        <p:origin x="-1488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-2820" y="-102"/>
      </p:cViewPr>
      <p:guideLst>
        <p:guide orient="horz" pos="2903"/>
        <p:guide pos="220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EE3774-BD6A-4A83-B32E-A107C7F5A088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MX"/>
        </a:p>
      </dgm:t>
    </dgm:pt>
    <dgm:pt modelId="{71A0EF51-A352-4132-92A6-2431F9A30874}">
      <dgm:prSet phldrT="[Texto]" custT="1"/>
      <dgm:spPr>
        <a:solidFill>
          <a:srgbClr val="0099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MX" sz="1600" b="1" dirty="0" smtClean="0">
              <a:solidFill>
                <a:schemeClr val="bg1"/>
              </a:solidFill>
              <a:latin typeface="Arial Narrow" panose="020B0606020202030204" pitchFamily="34" charset="0"/>
            </a:rPr>
            <a:t>Fidelidad</a:t>
          </a:r>
          <a:endParaRPr lang="es-MX" sz="1600" b="1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B2A03DE3-6CD9-44D7-944C-E118867423BF}" type="parTrans" cxnId="{BE2A29F7-D71A-4D84-9F31-BD2C6CDA0204}">
      <dgm:prSet/>
      <dgm:spPr/>
      <dgm:t>
        <a:bodyPr/>
        <a:lstStyle/>
        <a:p>
          <a:endParaRPr lang="es-MX"/>
        </a:p>
      </dgm:t>
    </dgm:pt>
    <dgm:pt modelId="{92E36877-47B1-4B8A-A596-A19D255B940F}" type="sibTrans" cxnId="{BE2A29F7-D71A-4D84-9F31-BD2C6CDA0204}">
      <dgm:prSet/>
      <dgm:spPr>
        <a:solidFill>
          <a:srgbClr val="00B050"/>
        </a:solidFill>
      </dgm:spPr>
      <dgm:t>
        <a:bodyPr/>
        <a:lstStyle/>
        <a:p>
          <a:endParaRPr lang="es-MX"/>
        </a:p>
      </dgm:t>
    </dgm:pt>
    <dgm:pt modelId="{B2BC73DA-108E-4EC2-AE53-C58E5D1EA151}">
      <dgm:prSet phldrT="[Texto]" custT="1"/>
      <dgm:spPr>
        <a:solidFill>
          <a:srgbClr val="FF00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lIns="0" tIns="0" rIns="0" bIns="0"/>
        <a:lstStyle/>
        <a:p>
          <a:r>
            <a:rPr lang="es-MX" sz="1500" b="1" dirty="0" smtClean="0">
              <a:latin typeface="Arial Narrow" panose="020B0606020202030204" pitchFamily="34" charset="0"/>
            </a:rPr>
            <a:t>Responsabilidad</a:t>
          </a:r>
          <a:endParaRPr lang="es-MX" sz="1500" b="1" dirty="0">
            <a:latin typeface="Arial Narrow" panose="020B0606020202030204" pitchFamily="34" charset="0"/>
          </a:endParaRPr>
        </a:p>
      </dgm:t>
    </dgm:pt>
    <dgm:pt modelId="{C7EB5FD9-1BC8-49C1-9E2A-B993EF4590B6}" type="parTrans" cxnId="{8F562A3E-E76E-4CF4-B1D8-AFC45AE1AA8A}">
      <dgm:prSet/>
      <dgm:spPr/>
      <dgm:t>
        <a:bodyPr/>
        <a:lstStyle/>
        <a:p>
          <a:endParaRPr lang="es-MX"/>
        </a:p>
      </dgm:t>
    </dgm:pt>
    <dgm:pt modelId="{8496A50F-7374-43E5-BDE2-50E0B0459B07}" type="sibTrans" cxnId="{8F562A3E-E76E-4CF4-B1D8-AFC45AE1AA8A}">
      <dgm:prSet/>
      <dgm:spPr>
        <a:solidFill>
          <a:srgbClr val="FF0000"/>
        </a:solidFill>
      </dgm:spPr>
      <dgm:t>
        <a:bodyPr/>
        <a:lstStyle/>
        <a:p>
          <a:endParaRPr lang="es-MX"/>
        </a:p>
      </dgm:t>
    </dgm:pt>
    <dgm:pt modelId="{782DFEF2-8BFF-40BF-883B-312300FB6356}">
      <dgm:prSet phldrT="[Texto]" custT="1"/>
      <dgm:spPr>
        <a:solidFill>
          <a:srgbClr val="FFFF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MX" sz="1600" b="1" dirty="0" smtClean="0">
              <a:solidFill>
                <a:schemeClr val="tx1"/>
              </a:solidFill>
              <a:latin typeface="Arial Narrow" panose="020B0606020202030204" pitchFamily="34" charset="0"/>
            </a:rPr>
            <a:t>Transparencia</a:t>
          </a:r>
          <a:endParaRPr lang="es-MX" sz="16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408B7AB7-2680-4AD9-B14C-1CBF2809FC19}" type="parTrans" cxnId="{31B02273-2385-41A2-A33F-0DD82224F6D1}">
      <dgm:prSet/>
      <dgm:spPr/>
      <dgm:t>
        <a:bodyPr/>
        <a:lstStyle/>
        <a:p>
          <a:endParaRPr lang="es-MX"/>
        </a:p>
      </dgm:t>
    </dgm:pt>
    <dgm:pt modelId="{EC2EC575-02FB-4BC3-9D39-6AC402E73CBE}" type="sibTrans" cxnId="{31B02273-2385-41A2-A33F-0DD82224F6D1}">
      <dgm:prSet/>
      <dgm:spPr>
        <a:solidFill>
          <a:srgbClr val="FFFF00"/>
        </a:solidFill>
        <a:scene3d>
          <a:camera prst="orthographicFront"/>
          <a:lightRig rig="threePt" dir="t"/>
        </a:scene3d>
        <a:sp3d>
          <a:bevelB w="165100" prst="coolSlant"/>
        </a:sp3d>
      </dgm:spPr>
      <dgm:t>
        <a:bodyPr/>
        <a:lstStyle/>
        <a:p>
          <a:endParaRPr lang="es-MX"/>
        </a:p>
      </dgm:t>
    </dgm:pt>
    <dgm:pt modelId="{0237241D-45C4-4CC5-A6D0-5252BA3B5866}">
      <dgm:prSet phldrT="[Texto]" custT="1"/>
      <dgm:spPr>
        <a:solidFill>
          <a:srgbClr val="FF66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MX" sz="1600" b="1" dirty="0" smtClean="0">
              <a:solidFill>
                <a:schemeClr val="tx1"/>
              </a:solidFill>
              <a:latin typeface="Arial Narrow" panose="020B0606020202030204" pitchFamily="34" charset="0"/>
            </a:rPr>
            <a:t>Honestidad</a:t>
          </a:r>
          <a:endParaRPr lang="es-MX" sz="1600" b="1" dirty="0">
            <a:solidFill>
              <a:schemeClr val="tx1"/>
            </a:solidFill>
            <a:latin typeface="Arial Narrow" panose="020B0606020202030204" pitchFamily="34" charset="0"/>
          </a:endParaRPr>
        </a:p>
      </dgm:t>
    </dgm:pt>
    <dgm:pt modelId="{CD67CFCB-E517-49AF-965D-02C6F8627BBD}" type="parTrans" cxnId="{A982B251-CE40-4394-97D6-5B016F459838}">
      <dgm:prSet/>
      <dgm:spPr/>
      <dgm:t>
        <a:bodyPr/>
        <a:lstStyle/>
        <a:p>
          <a:endParaRPr lang="es-MX"/>
        </a:p>
      </dgm:t>
    </dgm:pt>
    <dgm:pt modelId="{B43C61F0-EECE-4E69-BA3C-9DF7EA31A996}" type="sibTrans" cxnId="{A982B251-CE40-4394-97D6-5B016F459838}">
      <dgm:prSet/>
      <dgm:spPr>
        <a:solidFill>
          <a:srgbClr val="FF6600"/>
        </a:solidFill>
      </dgm:spPr>
      <dgm:t>
        <a:bodyPr/>
        <a:lstStyle/>
        <a:p>
          <a:endParaRPr lang="es-MX"/>
        </a:p>
      </dgm:t>
    </dgm:pt>
    <dgm:pt modelId="{F4FA5498-6CF6-463B-92F9-695B567B8F81}">
      <dgm:prSet phldrT="[Texto]" custT="1"/>
      <dgm:spPr>
        <a:solidFill>
          <a:srgbClr val="1966FF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MX" sz="1600" b="1" dirty="0" smtClean="0">
              <a:solidFill>
                <a:schemeClr val="bg1"/>
              </a:solidFill>
              <a:latin typeface="Arial Narrow" panose="020B0606020202030204" pitchFamily="34" charset="0"/>
            </a:rPr>
            <a:t>Respeto</a:t>
          </a:r>
          <a:r>
            <a:rPr lang="es-MX" sz="1800" b="1" dirty="0" smtClean="0">
              <a:solidFill>
                <a:schemeClr val="bg1"/>
              </a:solidFill>
            </a:rPr>
            <a:t> </a:t>
          </a:r>
          <a:endParaRPr lang="es-MX" sz="1800" b="1" dirty="0">
            <a:solidFill>
              <a:schemeClr val="bg1"/>
            </a:solidFill>
          </a:endParaRPr>
        </a:p>
      </dgm:t>
    </dgm:pt>
    <dgm:pt modelId="{BA76BF9F-D734-444A-A8DC-7DC408965C45}" type="parTrans" cxnId="{2F489431-7FB6-425A-8098-46D7A2A91CB8}">
      <dgm:prSet/>
      <dgm:spPr/>
      <dgm:t>
        <a:bodyPr/>
        <a:lstStyle/>
        <a:p>
          <a:endParaRPr lang="es-MX"/>
        </a:p>
      </dgm:t>
    </dgm:pt>
    <dgm:pt modelId="{CB3C2A46-F52D-4B1A-AE84-37879ED03C0F}" type="sibTrans" cxnId="{2F489431-7FB6-425A-8098-46D7A2A91CB8}">
      <dgm:prSet/>
      <dgm:spPr>
        <a:solidFill>
          <a:srgbClr val="1966FF"/>
        </a:solidFill>
      </dgm:spPr>
      <dgm:t>
        <a:bodyPr/>
        <a:lstStyle/>
        <a:p>
          <a:endParaRPr lang="es-MX"/>
        </a:p>
      </dgm:t>
    </dgm:pt>
    <dgm:pt modelId="{B4E42DDD-8614-49E9-B463-6477178AD1F6}" type="pres">
      <dgm:prSet presAssocID="{BCEE3774-BD6A-4A83-B32E-A107C7F5A08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MX"/>
        </a:p>
      </dgm:t>
    </dgm:pt>
    <dgm:pt modelId="{F298EB91-5C9D-4069-BDBB-06F54ECE8176}" type="pres">
      <dgm:prSet presAssocID="{71A0EF51-A352-4132-92A6-2431F9A30874}" presName="node" presStyleLbl="node1" presStyleIdx="0" presStyleCnt="5" custScaleX="105353" custScaleY="107297" custRadScaleRad="112964" custRadScaleInc="-22252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9537FF19-288D-4C77-B828-0BB703086202}" type="pres">
      <dgm:prSet presAssocID="{92E36877-47B1-4B8A-A596-A19D255B940F}" presName="sibTrans" presStyleLbl="sibTrans2D1" presStyleIdx="0" presStyleCnt="5"/>
      <dgm:spPr/>
      <dgm:t>
        <a:bodyPr/>
        <a:lstStyle/>
        <a:p>
          <a:endParaRPr lang="es-MX"/>
        </a:p>
      </dgm:t>
    </dgm:pt>
    <dgm:pt modelId="{D85861F0-E6A2-46FC-967D-214BD4653FE8}" type="pres">
      <dgm:prSet presAssocID="{92E36877-47B1-4B8A-A596-A19D255B940F}" presName="connectorText" presStyleLbl="sibTrans2D1" presStyleIdx="0" presStyleCnt="5"/>
      <dgm:spPr/>
      <dgm:t>
        <a:bodyPr/>
        <a:lstStyle/>
        <a:p>
          <a:endParaRPr lang="es-MX"/>
        </a:p>
      </dgm:t>
    </dgm:pt>
    <dgm:pt modelId="{63F6949A-A71C-4ABC-BBCD-DF505A6FB4CB}" type="pres">
      <dgm:prSet presAssocID="{B2BC73DA-108E-4EC2-AE53-C58E5D1EA151}" presName="node" presStyleLbl="node1" presStyleIdx="1" presStyleCnt="5" custScaleX="113581" custScaleY="113917" custRadScaleRad="94239" custRadScaleInc="-2496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3FAD36F-A3B8-4E00-9102-ED1B5CDA9E98}" type="pres">
      <dgm:prSet presAssocID="{8496A50F-7374-43E5-BDE2-50E0B0459B07}" presName="sibTrans" presStyleLbl="sibTrans2D1" presStyleIdx="1" presStyleCnt="5"/>
      <dgm:spPr/>
      <dgm:t>
        <a:bodyPr/>
        <a:lstStyle/>
        <a:p>
          <a:endParaRPr lang="es-MX"/>
        </a:p>
      </dgm:t>
    </dgm:pt>
    <dgm:pt modelId="{3D2409C3-65DA-4CB6-BA9F-BB59653FD0BC}" type="pres">
      <dgm:prSet presAssocID="{8496A50F-7374-43E5-BDE2-50E0B0459B07}" presName="connectorText" presStyleLbl="sibTrans2D1" presStyleIdx="1" presStyleCnt="5"/>
      <dgm:spPr/>
      <dgm:t>
        <a:bodyPr/>
        <a:lstStyle/>
        <a:p>
          <a:endParaRPr lang="es-MX"/>
        </a:p>
      </dgm:t>
    </dgm:pt>
    <dgm:pt modelId="{E8802C81-2DFC-414C-BA45-144ADE58004F}" type="pres">
      <dgm:prSet presAssocID="{782DFEF2-8BFF-40BF-883B-312300FB6356}" presName="node" presStyleLbl="node1" presStyleIdx="2" presStyleCnt="5" custScaleX="112332" custScaleY="102012" custRadScaleRad="82916" custRadScaleInc="6587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06681B05-A46D-42EE-8E5A-2C4D2C0E2393}" type="pres">
      <dgm:prSet presAssocID="{EC2EC575-02FB-4BC3-9D39-6AC402E73CBE}" presName="sibTrans" presStyleLbl="sibTrans2D1" presStyleIdx="2" presStyleCnt="5"/>
      <dgm:spPr/>
      <dgm:t>
        <a:bodyPr/>
        <a:lstStyle/>
        <a:p>
          <a:endParaRPr lang="es-MX"/>
        </a:p>
      </dgm:t>
    </dgm:pt>
    <dgm:pt modelId="{D1E3AAD6-F3EA-4271-95A7-6A05FC7049CA}" type="pres">
      <dgm:prSet presAssocID="{EC2EC575-02FB-4BC3-9D39-6AC402E73CBE}" presName="connectorText" presStyleLbl="sibTrans2D1" presStyleIdx="2" presStyleCnt="5"/>
      <dgm:spPr/>
      <dgm:t>
        <a:bodyPr/>
        <a:lstStyle/>
        <a:p>
          <a:endParaRPr lang="es-MX"/>
        </a:p>
      </dgm:t>
    </dgm:pt>
    <dgm:pt modelId="{2FC7CB6C-5198-4129-897F-FC38FF2AA9B8}" type="pres">
      <dgm:prSet presAssocID="{0237241D-45C4-4CC5-A6D0-5252BA3B5866}" presName="node" presStyleLbl="node1" presStyleIdx="3" presStyleCnt="5" custScaleX="117024" custScaleY="103972" custRadScaleRad="106329" custRadScaleInc="37530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00ECBC20-BBD2-4511-98D4-22D3F6B400EA}" type="pres">
      <dgm:prSet presAssocID="{B43C61F0-EECE-4E69-BA3C-9DF7EA31A996}" presName="sibTrans" presStyleLbl="sibTrans2D1" presStyleIdx="3" presStyleCnt="5"/>
      <dgm:spPr/>
      <dgm:t>
        <a:bodyPr/>
        <a:lstStyle/>
        <a:p>
          <a:endParaRPr lang="es-MX"/>
        </a:p>
      </dgm:t>
    </dgm:pt>
    <dgm:pt modelId="{0168488C-F1E7-4429-9B5B-65619376296E}" type="pres">
      <dgm:prSet presAssocID="{B43C61F0-EECE-4E69-BA3C-9DF7EA31A996}" presName="connectorText" presStyleLbl="sibTrans2D1" presStyleIdx="3" presStyleCnt="5"/>
      <dgm:spPr/>
      <dgm:t>
        <a:bodyPr/>
        <a:lstStyle/>
        <a:p>
          <a:endParaRPr lang="es-MX"/>
        </a:p>
      </dgm:t>
    </dgm:pt>
    <dgm:pt modelId="{FC99A850-C61E-4381-9FC3-F4911FC73ED3}" type="pres">
      <dgm:prSet presAssocID="{F4FA5498-6CF6-463B-92F9-695B567B8F81}" presName="node" presStyleLbl="node1" presStyleIdx="4" presStyleCnt="5" custScaleX="110041" custScaleY="105056" custRadScaleRad="118811" custRadScaleInc="8600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4AD9CB83-6231-449F-96BC-F9D3B51ED9B7}" type="pres">
      <dgm:prSet presAssocID="{CB3C2A46-F52D-4B1A-AE84-37879ED03C0F}" presName="sibTrans" presStyleLbl="sibTrans2D1" presStyleIdx="4" presStyleCnt="5"/>
      <dgm:spPr/>
      <dgm:t>
        <a:bodyPr/>
        <a:lstStyle/>
        <a:p>
          <a:endParaRPr lang="es-MX"/>
        </a:p>
      </dgm:t>
    </dgm:pt>
    <dgm:pt modelId="{83D340C5-721B-4F49-B009-9ADC06D6766F}" type="pres">
      <dgm:prSet presAssocID="{CB3C2A46-F52D-4B1A-AE84-37879ED03C0F}" presName="connectorText" presStyleLbl="sibTrans2D1" presStyleIdx="4" presStyleCnt="5"/>
      <dgm:spPr/>
      <dgm:t>
        <a:bodyPr/>
        <a:lstStyle/>
        <a:p>
          <a:endParaRPr lang="es-MX"/>
        </a:p>
      </dgm:t>
    </dgm:pt>
  </dgm:ptLst>
  <dgm:cxnLst>
    <dgm:cxn modelId="{015F7B2E-390B-49BA-953F-3C27E32CC579}" type="presOf" srcId="{782DFEF2-8BFF-40BF-883B-312300FB6356}" destId="{E8802C81-2DFC-414C-BA45-144ADE58004F}" srcOrd="0" destOrd="0" presId="urn:microsoft.com/office/officeart/2005/8/layout/cycle2"/>
    <dgm:cxn modelId="{C5F01A6F-00BE-4C12-A010-4122C5BECD8C}" type="presOf" srcId="{0237241D-45C4-4CC5-A6D0-5252BA3B5866}" destId="{2FC7CB6C-5198-4129-897F-FC38FF2AA9B8}" srcOrd="0" destOrd="0" presId="urn:microsoft.com/office/officeart/2005/8/layout/cycle2"/>
    <dgm:cxn modelId="{2F489431-7FB6-425A-8098-46D7A2A91CB8}" srcId="{BCEE3774-BD6A-4A83-B32E-A107C7F5A088}" destId="{F4FA5498-6CF6-463B-92F9-695B567B8F81}" srcOrd="4" destOrd="0" parTransId="{BA76BF9F-D734-444A-A8DC-7DC408965C45}" sibTransId="{CB3C2A46-F52D-4B1A-AE84-37879ED03C0F}"/>
    <dgm:cxn modelId="{B0704F61-8239-474B-AC5B-473C600C5C1D}" type="presOf" srcId="{CB3C2A46-F52D-4B1A-AE84-37879ED03C0F}" destId="{4AD9CB83-6231-449F-96BC-F9D3B51ED9B7}" srcOrd="0" destOrd="0" presId="urn:microsoft.com/office/officeart/2005/8/layout/cycle2"/>
    <dgm:cxn modelId="{19EC649B-F203-4047-B710-7D9389602859}" type="presOf" srcId="{B2BC73DA-108E-4EC2-AE53-C58E5D1EA151}" destId="{63F6949A-A71C-4ABC-BBCD-DF505A6FB4CB}" srcOrd="0" destOrd="0" presId="urn:microsoft.com/office/officeart/2005/8/layout/cycle2"/>
    <dgm:cxn modelId="{A982B251-CE40-4394-97D6-5B016F459838}" srcId="{BCEE3774-BD6A-4A83-B32E-A107C7F5A088}" destId="{0237241D-45C4-4CC5-A6D0-5252BA3B5866}" srcOrd="3" destOrd="0" parTransId="{CD67CFCB-E517-49AF-965D-02C6F8627BBD}" sibTransId="{B43C61F0-EECE-4E69-BA3C-9DF7EA31A996}"/>
    <dgm:cxn modelId="{B7E062D9-197F-4A53-A3B9-ADCD7E0562A5}" type="presOf" srcId="{8496A50F-7374-43E5-BDE2-50E0B0459B07}" destId="{3D2409C3-65DA-4CB6-BA9F-BB59653FD0BC}" srcOrd="1" destOrd="0" presId="urn:microsoft.com/office/officeart/2005/8/layout/cycle2"/>
    <dgm:cxn modelId="{1CEE538A-868B-46BB-BDF1-7D7EF0428F66}" type="presOf" srcId="{92E36877-47B1-4B8A-A596-A19D255B940F}" destId="{D85861F0-E6A2-46FC-967D-214BD4653FE8}" srcOrd="1" destOrd="0" presId="urn:microsoft.com/office/officeart/2005/8/layout/cycle2"/>
    <dgm:cxn modelId="{DD2A0EDF-62FC-4B9B-B613-133CA1E3E662}" type="presOf" srcId="{EC2EC575-02FB-4BC3-9D39-6AC402E73CBE}" destId="{06681B05-A46D-42EE-8E5A-2C4D2C0E2393}" srcOrd="0" destOrd="0" presId="urn:microsoft.com/office/officeart/2005/8/layout/cycle2"/>
    <dgm:cxn modelId="{31B02273-2385-41A2-A33F-0DD82224F6D1}" srcId="{BCEE3774-BD6A-4A83-B32E-A107C7F5A088}" destId="{782DFEF2-8BFF-40BF-883B-312300FB6356}" srcOrd="2" destOrd="0" parTransId="{408B7AB7-2680-4AD9-B14C-1CBF2809FC19}" sibTransId="{EC2EC575-02FB-4BC3-9D39-6AC402E73CBE}"/>
    <dgm:cxn modelId="{BE2A29F7-D71A-4D84-9F31-BD2C6CDA0204}" srcId="{BCEE3774-BD6A-4A83-B32E-A107C7F5A088}" destId="{71A0EF51-A352-4132-92A6-2431F9A30874}" srcOrd="0" destOrd="0" parTransId="{B2A03DE3-6CD9-44D7-944C-E118867423BF}" sibTransId="{92E36877-47B1-4B8A-A596-A19D255B940F}"/>
    <dgm:cxn modelId="{13A459FB-6848-45D3-8A60-7185C824A7D0}" type="presOf" srcId="{F4FA5498-6CF6-463B-92F9-695B567B8F81}" destId="{FC99A850-C61E-4381-9FC3-F4911FC73ED3}" srcOrd="0" destOrd="0" presId="urn:microsoft.com/office/officeart/2005/8/layout/cycle2"/>
    <dgm:cxn modelId="{649890F2-33D3-40AC-9260-4CC85F459B69}" type="presOf" srcId="{CB3C2A46-F52D-4B1A-AE84-37879ED03C0F}" destId="{83D340C5-721B-4F49-B009-9ADC06D6766F}" srcOrd="1" destOrd="0" presId="urn:microsoft.com/office/officeart/2005/8/layout/cycle2"/>
    <dgm:cxn modelId="{2421FA23-D61A-448B-B0FC-37384F28BBEA}" type="presOf" srcId="{B43C61F0-EECE-4E69-BA3C-9DF7EA31A996}" destId="{00ECBC20-BBD2-4511-98D4-22D3F6B400EA}" srcOrd="0" destOrd="0" presId="urn:microsoft.com/office/officeart/2005/8/layout/cycle2"/>
    <dgm:cxn modelId="{C440A5F8-5A48-4281-8A4D-3EFDEE41BD4C}" type="presOf" srcId="{EC2EC575-02FB-4BC3-9D39-6AC402E73CBE}" destId="{D1E3AAD6-F3EA-4271-95A7-6A05FC7049CA}" srcOrd="1" destOrd="0" presId="urn:microsoft.com/office/officeart/2005/8/layout/cycle2"/>
    <dgm:cxn modelId="{B6F9D9BD-99C4-4BC4-A494-D2D9A3FCC8DB}" type="presOf" srcId="{92E36877-47B1-4B8A-A596-A19D255B940F}" destId="{9537FF19-288D-4C77-B828-0BB703086202}" srcOrd="0" destOrd="0" presId="urn:microsoft.com/office/officeart/2005/8/layout/cycle2"/>
    <dgm:cxn modelId="{A8A4979E-1C33-4748-A22F-4CC663DFF9B9}" type="presOf" srcId="{BCEE3774-BD6A-4A83-B32E-A107C7F5A088}" destId="{B4E42DDD-8614-49E9-B463-6477178AD1F6}" srcOrd="0" destOrd="0" presId="urn:microsoft.com/office/officeart/2005/8/layout/cycle2"/>
    <dgm:cxn modelId="{098396B6-E246-465C-8C6F-70D3B6CD88C7}" type="presOf" srcId="{B43C61F0-EECE-4E69-BA3C-9DF7EA31A996}" destId="{0168488C-F1E7-4429-9B5B-65619376296E}" srcOrd="1" destOrd="0" presId="urn:microsoft.com/office/officeart/2005/8/layout/cycle2"/>
    <dgm:cxn modelId="{E4B7FC52-1DFC-4EEE-AFE0-32ADC1A7DA26}" type="presOf" srcId="{71A0EF51-A352-4132-92A6-2431F9A30874}" destId="{F298EB91-5C9D-4069-BDBB-06F54ECE8176}" srcOrd="0" destOrd="0" presId="urn:microsoft.com/office/officeart/2005/8/layout/cycle2"/>
    <dgm:cxn modelId="{BE5D258D-9057-44AD-BFEE-7E6F0F26E9B3}" type="presOf" srcId="{8496A50F-7374-43E5-BDE2-50E0B0459B07}" destId="{F3FAD36F-A3B8-4E00-9102-ED1B5CDA9E98}" srcOrd="0" destOrd="0" presId="urn:microsoft.com/office/officeart/2005/8/layout/cycle2"/>
    <dgm:cxn modelId="{8F562A3E-E76E-4CF4-B1D8-AFC45AE1AA8A}" srcId="{BCEE3774-BD6A-4A83-B32E-A107C7F5A088}" destId="{B2BC73DA-108E-4EC2-AE53-C58E5D1EA151}" srcOrd="1" destOrd="0" parTransId="{C7EB5FD9-1BC8-49C1-9E2A-B993EF4590B6}" sibTransId="{8496A50F-7374-43E5-BDE2-50E0B0459B07}"/>
    <dgm:cxn modelId="{141AAA65-1B50-4577-9CED-1BF1FFF1F661}" type="presParOf" srcId="{B4E42DDD-8614-49E9-B463-6477178AD1F6}" destId="{F298EB91-5C9D-4069-BDBB-06F54ECE8176}" srcOrd="0" destOrd="0" presId="urn:microsoft.com/office/officeart/2005/8/layout/cycle2"/>
    <dgm:cxn modelId="{40B05AAB-3E73-489C-9C8A-FFDBCE0CA3D5}" type="presParOf" srcId="{B4E42DDD-8614-49E9-B463-6477178AD1F6}" destId="{9537FF19-288D-4C77-B828-0BB703086202}" srcOrd="1" destOrd="0" presId="urn:microsoft.com/office/officeart/2005/8/layout/cycle2"/>
    <dgm:cxn modelId="{92799CA9-DF97-4A65-880A-B2EE452254ED}" type="presParOf" srcId="{9537FF19-288D-4C77-B828-0BB703086202}" destId="{D85861F0-E6A2-46FC-967D-214BD4653FE8}" srcOrd="0" destOrd="0" presId="urn:microsoft.com/office/officeart/2005/8/layout/cycle2"/>
    <dgm:cxn modelId="{85104F4D-7822-4AEC-8B8C-2932060B5109}" type="presParOf" srcId="{B4E42DDD-8614-49E9-B463-6477178AD1F6}" destId="{63F6949A-A71C-4ABC-BBCD-DF505A6FB4CB}" srcOrd="2" destOrd="0" presId="urn:microsoft.com/office/officeart/2005/8/layout/cycle2"/>
    <dgm:cxn modelId="{76D4E824-08B4-4BFE-B88B-60EF6F7CD21F}" type="presParOf" srcId="{B4E42DDD-8614-49E9-B463-6477178AD1F6}" destId="{F3FAD36F-A3B8-4E00-9102-ED1B5CDA9E98}" srcOrd="3" destOrd="0" presId="urn:microsoft.com/office/officeart/2005/8/layout/cycle2"/>
    <dgm:cxn modelId="{54174BF4-D736-4EB5-8367-7D8949C00A98}" type="presParOf" srcId="{F3FAD36F-A3B8-4E00-9102-ED1B5CDA9E98}" destId="{3D2409C3-65DA-4CB6-BA9F-BB59653FD0BC}" srcOrd="0" destOrd="0" presId="urn:microsoft.com/office/officeart/2005/8/layout/cycle2"/>
    <dgm:cxn modelId="{665D6633-D365-4F62-B48B-5DAD5627F3BA}" type="presParOf" srcId="{B4E42DDD-8614-49E9-B463-6477178AD1F6}" destId="{E8802C81-2DFC-414C-BA45-144ADE58004F}" srcOrd="4" destOrd="0" presId="urn:microsoft.com/office/officeart/2005/8/layout/cycle2"/>
    <dgm:cxn modelId="{FBF3ABAA-3C59-42B7-9989-8A1FE8B6FBF4}" type="presParOf" srcId="{B4E42DDD-8614-49E9-B463-6477178AD1F6}" destId="{06681B05-A46D-42EE-8E5A-2C4D2C0E2393}" srcOrd="5" destOrd="0" presId="urn:microsoft.com/office/officeart/2005/8/layout/cycle2"/>
    <dgm:cxn modelId="{9303CD1B-DF6D-42EF-B691-7F31D67D426E}" type="presParOf" srcId="{06681B05-A46D-42EE-8E5A-2C4D2C0E2393}" destId="{D1E3AAD6-F3EA-4271-95A7-6A05FC7049CA}" srcOrd="0" destOrd="0" presId="urn:microsoft.com/office/officeart/2005/8/layout/cycle2"/>
    <dgm:cxn modelId="{2ECF6486-74C3-4789-BADD-430CC4324C63}" type="presParOf" srcId="{B4E42DDD-8614-49E9-B463-6477178AD1F6}" destId="{2FC7CB6C-5198-4129-897F-FC38FF2AA9B8}" srcOrd="6" destOrd="0" presId="urn:microsoft.com/office/officeart/2005/8/layout/cycle2"/>
    <dgm:cxn modelId="{E5BBA099-57F9-462C-BA87-B949BAE66080}" type="presParOf" srcId="{B4E42DDD-8614-49E9-B463-6477178AD1F6}" destId="{00ECBC20-BBD2-4511-98D4-22D3F6B400EA}" srcOrd="7" destOrd="0" presId="urn:microsoft.com/office/officeart/2005/8/layout/cycle2"/>
    <dgm:cxn modelId="{A4AC69A4-D342-4D0D-A75B-0D7835FC39A9}" type="presParOf" srcId="{00ECBC20-BBD2-4511-98D4-22D3F6B400EA}" destId="{0168488C-F1E7-4429-9B5B-65619376296E}" srcOrd="0" destOrd="0" presId="urn:microsoft.com/office/officeart/2005/8/layout/cycle2"/>
    <dgm:cxn modelId="{09B11946-577C-4FA2-8C90-5BF5BDD87C62}" type="presParOf" srcId="{B4E42DDD-8614-49E9-B463-6477178AD1F6}" destId="{FC99A850-C61E-4381-9FC3-F4911FC73ED3}" srcOrd="8" destOrd="0" presId="urn:microsoft.com/office/officeart/2005/8/layout/cycle2"/>
    <dgm:cxn modelId="{5DBED300-4652-42C1-B457-19F99E505F51}" type="presParOf" srcId="{B4E42DDD-8614-49E9-B463-6477178AD1F6}" destId="{4AD9CB83-6231-449F-96BC-F9D3B51ED9B7}" srcOrd="9" destOrd="0" presId="urn:microsoft.com/office/officeart/2005/8/layout/cycle2"/>
    <dgm:cxn modelId="{8981C6C4-4890-4499-A8CA-B816BA4F09F0}" type="presParOf" srcId="{4AD9CB83-6231-449F-96BC-F9D3B51ED9B7}" destId="{83D340C5-721B-4F49-B009-9ADC06D6766F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98EB91-5C9D-4069-BDBB-06F54ECE8176}">
      <dsp:nvSpPr>
        <dsp:cNvPr id="0" name=""/>
        <dsp:cNvSpPr/>
      </dsp:nvSpPr>
      <dsp:spPr>
        <a:xfrm>
          <a:off x="2207367" y="-45023"/>
          <a:ext cx="1697233" cy="1728551"/>
        </a:xfrm>
        <a:prstGeom prst="ellipse">
          <a:avLst/>
        </a:prstGeom>
        <a:solidFill>
          <a:srgbClr val="00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600" b="1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Fidelidad</a:t>
          </a:r>
          <a:endParaRPr lang="es-MX" sz="1600" b="1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2455921" y="208117"/>
        <a:ext cx="1200125" cy="1222271"/>
      </dsp:txXfrm>
    </dsp:sp>
    <dsp:sp modelId="{9537FF19-288D-4C77-B828-0BB703086202}">
      <dsp:nvSpPr>
        <dsp:cNvPr id="0" name=""/>
        <dsp:cNvSpPr/>
      </dsp:nvSpPr>
      <dsp:spPr>
        <a:xfrm rot="1791253">
          <a:off x="3888555" y="1116414"/>
          <a:ext cx="317630" cy="543711"/>
        </a:xfrm>
        <a:prstGeom prst="righ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2300" kern="1200"/>
        </a:p>
      </dsp:txBody>
      <dsp:txXfrm>
        <a:off x="3894878" y="1201439"/>
        <a:ext cx="222341" cy="326227"/>
      </dsp:txXfrm>
    </dsp:sp>
    <dsp:sp modelId="{63F6949A-A71C-4ABC-BBCD-DF505A6FB4CB}">
      <dsp:nvSpPr>
        <dsp:cNvPr id="0" name=""/>
        <dsp:cNvSpPr/>
      </dsp:nvSpPr>
      <dsp:spPr>
        <a:xfrm>
          <a:off x="4194221" y="1080072"/>
          <a:ext cx="1829786" cy="1835199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500" b="1" kern="1200" dirty="0" smtClean="0">
              <a:latin typeface="Arial Narrow" panose="020B0606020202030204" pitchFamily="34" charset="0"/>
            </a:rPr>
            <a:t>Responsabilidad</a:t>
          </a:r>
          <a:endParaRPr lang="es-MX" sz="1500" b="1" kern="1200" dirty="0">
            <a:latin typeface="Arial Narrow" panose="020B0606020202030204" pitchFamily="34" charset="0"/>
          </a:endParaRPr>
        </a:p>
      </dsp:txBody>
      <dsp:txXfrm>
        <a:off x="4462187" y="1348831"/>
        <a:ext cx="1293854" cy="1297681"/>
      </dsp:txXfrm>
    </dsp:sp>
    <dsp:sp modelId="{F3FAD36F-A3B8-4E00-9102-ED1B5CDA9E98}">
      <dsp:nvSpPr>
        <dsp:cNvPr id="0" name=""/>
        <dsp:cNvSpPr/>
      </dsp:nvSpPr>
      <dsp:spPr>
        <a:xfrm rot="6527902">
          <a:off x="4524922" y="2908724"/>
          <a:ext cx="363071" cy="543711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2300" kern="1200"/>
        </a:p>
      </dsp:txBody>
      <dsp:txXfrm rot="10800000">
        <a:off x="4596932" y="2965911"/>
        <a:ext cx="254150" cy="326227"/>
      </dsp:txXfrm>
    </dsp:sp>
    <dsp:sp modelId="{E8802C81-2DFC-414C-BA45-144ADE58004F}">
      <dsp:nvSpPr>
        <dsp:cNvPr id="0" name=""/>
        <dsp:cNvSpPr/>
      </dsp:nvSpPr>
      <dsp:spPr>
        <a:xfrm>
          <a:off x="3420712" y="3477904"/>
          <a:ext cx="1809664" cy="1643409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6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Transparencia</a:t>
          </a:r>
          <a:endParaRPr lang="es-MX" sz="16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>
        <a:off x="3685731" y="3718576"/>
        <a:ext cx="1279626" cy="1162065"/>
      </dsp:txXfrm>
    </dsp:sp>
    <dsp:sp modelId="{06681B05-A46D-42EE-8E5A-2C4D2C0E2393}">
      <dsp:nvSpPr>
        <dsp:cNvPr id="0" name=""/>
        <dsp:cNvSpPr/>
      </dsp:nvSpPr>
      <dsp:spPr>
        <a:xfrm rot="10799989">
          <a:off x="2848510" y="4027757"/>
          <a:ext cx="404356" cy="543711"/>
        </a:xfrm>
        <a:prstGeom prst="rightArrow">
          <a:avLst>
            <a:gd name="adj1" fmla="val 60000"/>
            <a:gd name="adj2" fmla="val 50000"/>
          </a:avLst>
        </a:prstGeom>
        <a:solidFill>
          <a:srgbClr val="FFFF00"/>
        </a:solidFill>
        <a:ln>
          <a:noFill/>
        </a:ln>
        <a:effectLst/>
        <a:scene3d>
          <a:camera prst="orthographicFront"/>
          <a:lightRig rig="threePt" dir="t"/>
        </a:scene3d>
        <a:sp3d>
          <a:bevelB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2300" kern="1200"/>
        </a:p>
      </dsp:txBody>
      <dsp:txXfrm rot="10800000">
        <a:off x="2969817" y="4136499"/>
        <a:ext cx="283049" cy="326227"/>
      </dsp:txXfrm>
    </dsp:sp>
    <dsp:sp modelId="{2FC7CB6C-5198-4129-897F-FC38FF2AA9B8}">
      <dsp:nvSpPr>
        <dsp:cNvPr id="0" name=""/>
        <dsp:cNvSpPr/>
      </dsp:nvSpPr>
      <dsp:spPr>
        <a:xfrm>
          <a:off x="772523" y="3462124"/>
          <a:ext cx="1885252" cy="1674985"/>
        </a:xfrm>
        <a:prstGeom prst="ellipse">
          <a:avLst/>
        </a:prstGeom>
        <a:solidFill>
          <a:srgbClr val="FF66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600" b="1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Honestidad</a:t>
          </a:r>
          <a:endParaRPr lang="es-MX" sz="1600" b="1" kern="1200" dirty="0">
            <a:solidFill>
              <a:schemeClr val="tx1"/>
            </a:solidFill>
            <a:latin typeface="Arial Narrow" panose="020B0606020202030204" pitchFamily="34" charset="0"/>
          </a:endParaRPr>
        </a:p>
      </dsp:txBody>
      <dsp:txXfrm>
        <a:off x="1048612" y="3707420"/>
        <a:ext cx="1333074" cy="1184393"/>
      </dsp:txXfrm>
    </dsp:sp>
    <dsp:sp modelId="{00ECBC20-BBD2-4511-98D4-22D3F6B400EA}">
      <dsp:nvSpPr>
        <dsp:cNvPr id="0" name=""/>
        <dsp:cNvSpPr/>
      </dsp:nvSpPr>
      <dsp:spPr>
        <a:xfrm rot="15299306">
          <a:off x="1226743" y="2889356"/>
          <a:ext cx="366250" cy="543711"/>
        </a:xfrm>
        <a:prstGeom prst="rightArrow">
          <a:avLst>
            <a:gd name="adj1" fmla="val 60000"/>
            <a:gd name="adj2" fmla="val 50000"/>
          </a:avLst>
        </a:prstGeom>
        <a:solidFill>
          <a:srgbClr val="FF66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2300" kern="1200"/>
        </a:p>
      </dsp:txBody>
      <dsp:txXfrm rot="10800000">
        <a:off x="1295910" y="3051161"/>
        <a:ext cx="256375" cy="326227"/>
      </dsp:txXfrm>
    </dsp:sp>
    <dsp:sp modelId="{FC99A850-C61E-4381-9FC3-F4911FC73ED3}">
      <dsp:nvSpPr>
        <dsp:cNvPr id="0" name=""/>
        <dsp:cNvSpPr/>
      </dsp:nvSpPr>
      <dsp:spPr>
        <a:xfrm>
          <a:off x="211473" y="1151463"/>
          <a:ext cx="1772756" cy="1692448"/>
        </a:xfrm>
        <a:prstGeom prst="ellipse">
          <a:avLst/>
        </a:prstGeom>
        <a:solidFill>
          <a:srgbClr val="1966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600" b="1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Respeto</a:t>
          </a:r>
          <a:r>
            <a:rPr lang="es-MX" sz="1800" b="1" kern="1200" dirty="0" smtClean="0">
              <a:solidFill>
                <a:schemeClr val="bg1"/>
              </a:solidFill>
            </a:rPr>
            <a:t> </a:t>
          </a:r>
          <a:endParaRPr lang="es-MX" sz="1800" b="1" kern="1200" dirty="0">
            <a:solidFill>
              <a:schemeClr val="bg1"/>
            </a:solidFill>
          </a:endParaRPr>
        </a:p>
      </dsp:txBody>
      <dsp:txXfrm>
        <a:off x="471087" y="1399316"/>
        <a:ext cx="1253528" cy="1196742"/>
      </dsp:txXfrm>
    </dsp:sp>
    <dsp:sp modelId="{4AD9CB83-6231-449F-96BC-F9D3B51ED9B7}">
      <dsp:nvSpPr>
        <dsp:cNvPr id="0" name=""/>
        <dsp:cNvSpPr/>
      </dsp:nvSpPr>
      <dsp:spPr>
        <a:xfrm rot="19737586">
          <a:off x="1931621" y="1135138"/>
          <a:ext cx="295497" cy="543711"/>
        </a:xfrm>
        <a:prstGeom prst="rightArrow">
          <a:avLst>
            <a:gd name="adj1" fmla="val 60000"/>
            <a:gd name="adj2" fmla="val 50000"/>
          </a:avLst>
        </a:prstGeom>
        <a:solidFill>
          <a:srgbClr val="1966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2300" kern="1200"/>
        </a:p>
      </dsp:txBody>
      <dsp:txXfrm>
        <a:off x="1937968" y="1266735"/>
        <a:ext cx="206848" cy="326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2550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69" tIns="44735" rIns="89469" bIns="44735" numCol="1" anchor="t" anchorCtr="0" compatLnSpc="1">
            <a:prstTxWarp prst="textNoShape">
              <a:avLst/>
            </a:prstTxWarp>
          </a:bodyPr>
          <a:lstStyle>
            <a:lvl1pPr defTabSz="895245">
              <a:defRPr b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65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9914" y="0"/>
            <a:ext cx="3032550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69" tIns="44735" rIns="89469" bIns="44735" numCol="1" anchor="t" anchorCtr="0" compatLnSpc="1">
            <a:prstTxWarp prst="textNoShape">
              <a:avLst/>
            </a:prstTxWarp>
          </a:bodyPr>
          <a:lstStyle>
            <a:lvl1pPr algn="r" defTabSz="895245">
              <a:defRPr b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65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55860"/>
            <a:ext cx="3032550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69" tIns="44735" rIns="89469" bIns="44735" numCol="1" anchor="b" anchorCtr="0" compatLnSpc="1">
            <a:prstTxWarp prst="textNoShape">
              <a:avLst/>
            </a:prstTxWarp>
          </a:bodyPr>
          <a:lstStyle>
            <a:lvl1pPr defTabSz="895245">
              <a:defRPr b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65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9914" y="8755860"/>
            <a:ext cx="3032550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69" tIns="44735" rIns="89469" bIns="44735" numCol="1" anchor="b" anchorCtr="0" compatLnSpc="1">
            <a:prstTxWarp prst="textNoShape">
              <a:avLst/>
            </a:prstTxWarp>
          </a:bodyPr>
          <a:lstStyle>
            <a:lvl1pPr algn="r" defTabSz="895245">
              <a:defRPr b="0"/>
            </a:lvl1pPr>
          </a:lstStyle>
          <a:p>
            <a:pPr>
              <a:defRPr/>
            </a:pPr>
            <a:fld id="{465BDB5E-C6C6-4822-8DD3-8319BBA55D9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3151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4138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9" tIns="45552" rIns="91109" bIns="45552" numCol="1" anchor="t" anchorCtr="0" compatLnSpc="1">
            <a:prstTxWarp prst="textNoShape">
              <a:avLst/>
            </a:prstTxWarp>
          </a:bodyPr>
          <a:lstStyle>
            <a:lvl1pPr defTabSz="911034">
              <a:defRPr b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8329" y="0"/>
            <a:ext cx="3034138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9" tIns="45552" rIns="91109" bIns="45552" numCol="1" anchor="t" anchorCtr="0" compatLnSpc="1">
            <a:prstTxWarp prst="textNoShape">
              <a:avLst/>
            </a:prstTxWarp>
          </a:bodyPr>
          <a:lstStyle>
            <a:lvl1pPr algn="r" defTabSz="911034">
              <a:defRPr b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95388" y="692150"/>
            <a:ext cx="4611687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378717"/>
            <a:ext cx="5601972" cy="414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9" tIns="45552" rIns="91109" bIns="455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55860"/>
            <a:ext cx="3034138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9" tIns="45552" rIns="91109" bIns="45552" numCol="1" anchor="b" anchorCtr="0" compatLnSpc="1">
            <a:prstTxWarp prst="textNoShape">
              <a:avLst/>
            </a:prstTxWarp>
          </a:bodyPr>
          <a:lstStyle>
            <a:lvl1pPr defTabSz="911034">
              <a:defRPr b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8329" y="8755860"/>
            <a:ext cx="3034138" cy="459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9" tIns="45552" rIns="91109" bIns="45552" numCol="1" anchor="b" anchorCtr="0" compatLnSpc="1">
            <a:prstTxWarp prst="textNoShape">
              <a:avLst/>
            </a:prstTxWarp>
          </a:bodyPr>
          <a:lstStyle>
            <a:lvl1pPr algn="r" defTabSz="911034">
              <a:defRPr b="0"/>
            </a:lvl1pPr>
          </a:lstStyle>
          <a:p>
            <a:pPr>
              <a:defRPr/>
            </a:pPr>
            <a:fld id="{31497C4A-835C-461D-ADFB-CFE72C4A266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64597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83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BD9AB-8815-4F4A-82FE-BD25069BFFC8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633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122DB6-B6AB-4F91-A77F-FFC158C44FC0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5357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9BD952-B62B-423D-9D50-E36EEF051A69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2049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93291-84F7-470E-9637-AD3511D769B7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494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F1AE99-8342-41DE-9E6F-5A3664D46D63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2"/>
          <p:cNvGrpSpPr>
            <a:grpSpLocks/>
          </p:cNvGrpSpPr>
          <p:nvPr userDrawn="1"/>
        </p:nvGrpSpPr>
        <p:grpSpPr bwMode="auto">
          <a:xfrm>
            <a:off x="0" y="-24"/>
            <a:ext cx="9144000" cy="1412875"/>
            <a:chOff x="0" y="0"/>
            <a:chExt cx="5760" cy="89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8550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081088"/>
            <a:ext cx="8229600" cy="5045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cxnSp>
        <p:nvCxnSpPr>
          <p:cNvPr id="6" name="5 Conector recto"/>
          <p:cNvCxnSpPr/>
          <p:nvPr userDrawn="1"/>
        </p:nvCxnSpPr>
        <p:spPr bwMode="auto">
          <a:xfrm>
            <a:off x="422726" y="869950"/>
            <a:ext cx="8175625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834742109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14" name="Rectangle 3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" name="Rectangle 4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6" name="Picture 9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88640"/>
            <a:ext cx="18827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Box 1"/>
          <p:cNvSpPr txBox="1"/>
          <p:nvPr userDrawn="1"/>
        </p:nvSpPr>
        <p:spPr>
          <a:xfrm>
            <a:off x="123096" y="980728"/>
            <a:ext cx="1064528" cy="335270"/>
          </a:xfrm>
          <a:prstGeom prst="rect">
            <a:avLst/>
          </a:prstGeom>
          <a:noFill/>
        </p:spPr>
        <p:txBody>
          <a:bodyPr wrap="square" rtlCol="0">
            <a:normAutofit fontScale="92500"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700" kern="0" dirty="0">
                <a:solidFill>
                  <a:srgbClr val="262626">
                    <a:lumMod val="85000"/>
                    <a:lumOff val="15000"/>
                  </a:srgbClr>
                </a:solidFill>
                <a:latin typeface="Calibri"/>
              </a:rPr>
              <a:t>Contrato:</a:t>
            </a:r>
            <a:endParaRPr lang="es-ES" sz="1700" b="0" kern="0" dirty="0">
              <a:solidFill>
                <a:srgbClr val="003366"/>
              </a:solidFill>
              <a:latin typeface="Calibri"/>
            </a:endParaRPr>
          </a:p>
        </p:txBody>
      </p:sp>
      <p:graphicFrame>
        <p:nvGraphicFramePr>
          <p:cNvPr id="26" name="25 Tabl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659352125"/>
              </p:ext>
            </p:extLst>
          </p:nvPr>
        </p:nvGraphicFramePr>
        <p:xfrm>
          <a:off x="123096" y="1213196"/>
          <a:ext cx="8841394" cy="1927772"/>
        </p:xfrm>
        <a:graphic>
          <a:graphicData uri="http://schemas.openxmlformats.org/drawingml/2006/table">
            <a:tbl>
              <a:tblPr firstRow="1" bandRow="1"/>
              <a:tblGrid>
                <a:gridCol w="416456"/>
                <a:gridCol w="924136"/>
                <a:gridCol w="1102986"/>
                <a:gridCol w="360158"/>
                <a:gridCol w="1141112"/>
                <a:gridCol w="156960"/>
                <a:gridCol w="707136"/>
                <a:gridCol w="144016"/>
                <a:gridCol w="360040"/>
                <a:gridCol w="216024"/>
                <a:gridCol w="720080"/>
                <a:gridCol w="432048"/>
                <a:gridCol w="216024"/>
                <a:gridCol w="648072"/>
                <a:gridCol w="360040"/>
                <a:gridCol w="936106"/>
              </a:tblGrid>
              <a:tr h="504056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escripción: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1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s-MX" sz="800" b="1" i="0" u="none" strike="noStrike" dirty="0">
                        <a:solidFill>
                          <a:srgbClr val="262626"/>
                        </a:solidFill>
                        <a:effectLst/>
                        <a:latin typeface="Calibri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272804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echa</a:t>
                      </a:r>
                    </a:p>
                  </a:txBody>
                  <a:tcPr marL="8525" marR="8525" marT="8525" marB="0" vert="vert27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Inicio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nto</a:t>
                      </a:r>
                    </a:p>
                  </a:txBody>
                  <a:tcPr marL="8525" marR="8525" marT="8525" marB="0" vert="vert27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riginal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s-MX" sz="9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nvenios</a:t>
                      </a:r>
                    </a:p>
                  </a:txBody>
                  <a:tcPr marL="8525" marR="8525" marT="8525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plicado a: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utorizado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 </a:t>
                      </a:r>
                      <a:r>
                        <a:rPr lang="es-MX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ámite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272804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erm.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s-MX" sz="9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°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mporte/Día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°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mporte/Día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</a:tr>
              <a:tr h="272804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lazo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mbios Potenciales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s-MX" sz="9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nto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2652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erm. Reprog.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yectado</a:t>
                      </a: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s-MX" sz="9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azo</a:t>
                      </a: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2652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es-MX" sz="1100" b="0" i="0" u="none" strike="noStrike" dirty="0">
                        <a:solidFill>
                          <a:srgbClr val="262626"/>
                        </a:solidFill>
                        <a:effectLst/>
                        <a:latin typeface="Calibri"/>
                      </a:endParaRPr>
                    </a:p>
                  </a:txBody>
                  <a:tcPr marL="8525" marR="8525" marT="8525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endParaRPr lang="es-MX" sz="1100" b="1" i="0" u="none" strike="noStrike" dirty="0">
                        <a:solidFill>
                          <a:srgbClr val="262626"/>
                        </a:solidFill>
                        <a:effectLst/>
                        <a:latin typeface="Calibri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fontAlgn="ctr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874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11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 rtl="0" fontAlgn="ctr"/>
                      <a:r>
                        <a:rPr lang="es-MX" sz="1100" b="1" i="0" u="none" strike="noStrike" dirty="0" smtClean="0">
                          <a:solidFill>
                            <a:srgbClr val="262626"/>
                          </a:solidFill>
                          <a:effectLst/>
                          <a:latin typeface="+mn-lt"/>
                        </a:rPr>
                        <a:t>% Avances:</a:t>
                      </a:r>
                      <a:endParaRPr lang="es-MX" sz="1100" b="1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ísico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9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900" b="0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76726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kumimoji="0" lang="es-MX" sz="1100" b="1" i="0" u="none" strike="noStrike" kern="1200" dirty="0">
                        <a:solidFill>
                          <a:srgbClr val="26262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1100" b="1" i="0" u="none" strike="noStrike" dirty="0">
                        <a:solidFill>
                          <a:srgbClr val="262626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inanciero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stado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s-MX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525" marR="8525" marT="8525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7" name="26 Tabl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25431866"/>
              </p:ext>
            </p:extLst>
          </p:nvPr>
        </p:nvGraphicFramePr>
        <p:xfrm>
          <a:off x="123096" y="3004552"/>
          <a:ext cx="2720712" cy="1432560"/>
        </p:xfrm>
        <a:graphic>
          <a:graphicData uri="http://schemas.openxmlformats.org/drawingml/2006/table">
            <a:tbl>
              <a:tblPr/>
              <a:tblGrid>
                <a:gridCol w="1072813"/>
                <a:gridCol w="822490"/>
                <a:gridCol w="825409"/>
              </a:tblGrid>
              <a:tr h="181429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Estado de Ordenes de Trabaj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CRIPCION</a:t>
                      </a:r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NTIDAD</a:t>
                      </a:r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MPORTE</a:t>
                      </a:r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malizad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ejecució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spendid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rminad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ncelad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3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8" name="27 Tabl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75325378"/>
              </p:ext>
            </p:extLst>
          </p:nvPr>
        </p:nvGraphicFramePr>
        <p:xfrm>
          <a:off x="107504" y="4587577"/>
          <a:ext cx="2736304" cy="2009775"/>
        </p:xfrm>
        <a:graphic>
          <a:graphicData uri="http://schemas.openxmlformats.org/drawingml/2006/table">
            <a:tbl>
              <a:tblPr/>
              <a:tblGrid>
                <a:gridCol w="1064528"/>
                <a:gridCol w="900100"/>
                <a:gridCol w="771676"/>
              </a:tblGrid>
              <a:tr h="209550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recios Unitarios Extraordinari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CRIPCION</a:t>
                      </a:r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s-MX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NTIDAD</a:t>
                      </a:r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MPORTE</a:t>
                      </a:r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dentificados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n Document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Compañí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Residenci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. Material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orizad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ndient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s-MX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es-MX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66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9" name="Line 8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148586" y="850900"/>
            <a:ext cx="8874125" cy="0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 sz="1000" b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49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02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0F7EF-A5A1-4E8A-A7AD-7928BF1BF89D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35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E50732-BDED-4865-8BEC-4CA7C606BDDD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2"/>
          <p:cNvGrpSpPr>
            <a:grpSpLocks/>
          </p:cNvGrpSpPr>
          <p:nvPr userDrawn="1"/>
        </p:nvGrpSpPr>
        <p:grpSpPr bwMode="auto">
          <a:xfrm>
            <a:off x="0" y="-24"/>
            <a:ext cx="9144000" cy="1412875"/>
            <a:chOff x="0" y="0"/>
            <a:chExt cx="5760" cy="89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380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580" y="1415604"/>
            <a:ext cx="5519254" cy="1869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008313"/>
            <a:ext cx="8185150" cy="1649412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s-ES"/>
              <a:t>Haga clic para cambiar el título	</a:t>
            </a:r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7363" y="4760913"/>
            <a:ext cx="8164512" cy="63976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s-ES"/>
              <a:t>Haga clic para cambiar el área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529388" y="6035675"/>
            <a:ext cx="2133600" cy="5826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AA021E27-85DE-47CA-B671-6421E3550F12}" type="datetime1">
              <a:rPr lang="es-MX" smtClean="0">
                <a:solidFill>
                  <a:srgbClr val="000000"/>
                </a:solidFill>
              </a:rPr>
              <a:t>08/03/2016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8277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090783" y="274638"/>
            <a:ext cx="5961017" cy="735556"/>
          </a:xfrm>
          <a:prstGeom prst="rect">
            <a:avLst/>
          </a:prstGeom>
        </p:spPr>
        <p:txBody>
          <a:bodyPr lIns="91427" tIns="45713" rIns="91427" bIns="45713"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pic>
        <p:nvPicPr>
          <p:cNvPr id="3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6393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2172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2908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48095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1"/>
            <a:ext cx="9144000" cy="1412875"/>
            <a:chOff x="0" y="0"/>
            <a:chExt cx="5760" cy="890"/>
          </a:xfrm>
        </p:grpSpPr>
        <p:sp>
          <p:nvSpPr>
            <p:cNvPr id="3" name="Rectangle 3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" name="Rectangle 4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0" y="6742114"/>
            <a:ext cx="9144000" cy="115887"/>
            <a:chOff x="0" y="4247"/>
            <a:chExt cx="5760" cy="73"/>
          </a:xfrm>
        </p:grpSpPr>
        <p:sp>
          <p:nvSpPr>
            <p:cNvPr id="6" name="Rectangle 8"/>
            <p:cNvSpPr>
              <a:spLocks noChangeArrowheads="1"/>
            </p:cNvSpPr>
            <p:nvPr userDrawn="1"/>
          </p:nvSpPr>
          <p:spPr bwMode="auto">
            <a:xfrm>
              <a:off x="0" y="4247"/>
              <a:ext cx="5760" cy="73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9"/>
            <p:cNvSpPr>
              <a:spLocks noChangeArrowheads="1"/>
            </p:cNvSpPr>
            <p:nvPr userDrawn="1"/>
          </p:nvSpPr>
          <p:spPr bwMode="auto">
            <a:xfrm>
              <a:off x="295" y="4247"/>
              <a:ext cx="1088" cy="73"/>
            </a:xfrm>
            <a:prstGeom prst="rect">
              <a:avLst/>
            </a:prstGeom>
            <a:solidFill>
              <a:srgbClr val="0048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5103" y="4247"/>
              <a:ext cx="362" cy="73"/>
            </a:xfrm>
            <a:prstGeom prst="rect">
              <a:avLst/>
            </a:prstGeom>
            <a:solidFill>
              <a:srgbClr val="0048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95909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94309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62844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071803" y="274638"/>
            <a:ext cx="5614998" cy="725470"/>
          </a:xfrm>
          <a:prstGeom prst="rect">
            <a:avLst/>
          </a:prstGeom>
        </p:spPr>
        <p:txBody>
          <a:bodyPr lIns="91427" tIns="45713" rIns="91427" bIns="45713" anchor="ctr"/>
          <a:lstStyle>
            <a:lvl1pPr algn="r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2761479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42070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510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0D6CB-DFBC-417C-ABB5-D8BC39C67D65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121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8 Título"/>
          <p:cNvSpPr>
            <a:spLocks noGrp="1"/>
          </p:cNvSpPr>
          <p:nvPr>
            <p:ph type="title"/>
          </p:nvPr>
        </p:nvSpPr>
        <p:spPr>
          <a:xfrm>
            <a:off x="3357555" y="274639"/>
            <a:ext cx="5412371" cy="711014"/>
          </a:xfrm>
          <a:prstGeom prst="rect">
            <a:avLst/>
          </a:prstGeom>
        </p:spPr>
        <p:txBody>
          <a:bodyPr lIns="91427" tIns="45713" rIns="91427" bIns="45713" anchor="ctr"/>
          <a:lstStyle>
            <a:lvl1pPr algn="r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0356902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97076" y="230189"/>
            <a:ext cx="6607175" cy="457200"/>
          </a:xfrm>
          <a:prstGeom prst="rect">
            <a:avLst/>
          </a:prstGeom>
        </p:spPr>
        <p:txBody>
          <a:bodyPr lIns="91427" tIns="45713" rIns="91427" bIns="45713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1" y="6245226"/>
            <a:ext cx="2133600" cy="476250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D58ECF78-EA35-4675-B5BF-56EE8644C21D}" type="datetime1">
              <a:rPr lang="es-MX" sz="1800" b="0" smtClean="0">
                <a:cs typeface="Arial" pitchFamily="34" charset="0"/>
              </a:rPr>
              <a:t>08/03/2016</a:t>
            </a:fld>
            <a:endParaRPr lang="es-ES" sz="1800" b="0" dirty="0">
              <a:cs typeface="Arial" pitchFamily="34" charset="0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6"/>
            <a:ext cx="2895600" cy="476250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 sz="1800" b="0" dirty="0">
              <a:cs typeface="Arial" pitchFamily="34" charset="0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93150" y="6583364"/>
            <a:ext cx="450850" cy="274637"/>
          </a:xfrm>
          <a:prstGeom prst="rect">
            <a:avLst/>
          </a:prstGeom>
        </p:spPr>
        <p:txBody>
          <a:bodyPr lIns="91427" tIns="45713" rIns="91427" bIns="45713"/>
          <a:lstStyle>
            <a:lvl1pPr>
              <a:defRPr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6029B90B-9449-43CC-B376-2B8D671EF520}" type="slidenum">
              <a:rPr lang="es-ES" sz="1800" b="0">
                <a:cs typeface="Arial" pitchFamily="34" charset="0"/>
              </a:rPr>
              <a:pPr>
                <a:defRPr/>
              </a:pPr>
              <a:t>‹Nº›</a:t>
            </a:fld>
            <a:endParaRPr lang="es-ES" sz="1800" b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101020"/>
      </p:ext>
    </p:extLst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yote0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8504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ítulo, 1 objeto y 2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41313" y="142876"/>
            <a:ext cx="15160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6 Conector recto"/>
          <p:cNvCxnSpPr/>
          <p:nvPr userDrawn="1"/>
        </p:nvCxnSpPr>
        <p:spPr>
          <a:xfrm flipV="1">
            <a:off x="344489" y="758825"/>
            <a:ext cx="8385175" cy="1746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06613" y="376238"/>
            <a:ext cx="6607175" cy="457200"/>
          </a:xfrm>
          <a:prstGeom prst="rect">
            <a:avLst/>
          </a:prstGeom>
        </p:spPr>
        <p:txBody>
          <a:bodyPr lIns="91427" tIns="45713" rIns="91427" bIns="45713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 lIns="91427" tIns="45713" rIns="91427" bIns="45713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427" tIns="45713" rIns="91427" bIns="45713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427" tIns="45713" rIns="91427" bIns="45713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1" y="6245226"/>
            <a:ext cx="2133600" cy="476250"/>
          </a:xfrm>
          <a:prstGeom prst="rect">
            <a:avLst/>
          </a:prstGeom>
        </p:spPr>
        <p:txBody>
          <a:bodyPr lIns="91427" tIns="45713" rIns="91427" bIns="45713"/>
          <a:lstStyle>
            <a:lvl1pPr algn="r"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1F2F9C1-5DD1-4BF5-9F4C-7D7623929105}" type="datetime1">
              <a:rPr lang="es-MX" sz="1800" b="0" smtClean="0">
                <a:solidFill>
                  <a:srgbClr val="000000"/>
                </a:solidFill>
                <a:cs typeface="Arial" pitchFamily="34" charset="0"/>
              </a:rPr>
              <a:t>08/03/2016</a:t>
            </a:fld>
            <a:endParaRPr lang="es-ES" sz="18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797675" y="6596063"/>
            <a:ext cx="2133600" cy="184150"/>
          </a:xfrm>
          <a:prstGeom prst="rect">
            <a:avLst/>
          </a:prstGeom>
        </p:spPr>
        <p:txBody>
          <a:bodyPr lIns="91427" tIns="45713" rIns="91427" bIns="45713"/>
          <a:lstStyle>
            <a:lvl1pPr algn="r"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9673D7F-FABA-47F1-9B62-B968300EC384}" type="slidenum">
              <a:rPr lang="es-ES" sz="1800" b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Nº›</a:t>
            </a:fld>
            <a:endParaRPr lang="es-ES" sz="1800" b="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354270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7910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605284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896655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28536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127854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77740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012EE-85E1-4AE9-9B4A-20648D5B9314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0905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7007672" y="6381328"/>
            <a:ext cx="2133600" cy="365125"/>
          </a:xfrm>
          <a:prstGeom prst="rect">
            <a:avLst/>
          </a:prstGeom>
        </p:spPr>
        <p:txBody>
          <a:bodyPr vert="horz" lIns="91427" tIns="45713" rIns="91427" bIns="4571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69" fontAlgn="auto">
              <a:spcBef>
                <a:spcPts val="0"/>
              </a:spcBef>
              <a:spcAft>
                <a:spcPts val="0"/>
              </a:spcAft>
              <a:defRPr/>
            </a:pPr>
            <a:fld id="{9310D794-F059-4EB5-B005-4A90DE9235C4}" type="slidenum">
              <a:rPr lang="es-ES" b="0" smtClean="0">
                <a:solidFill>
                  <a:srgbClr val="000000">
                    <a:tint val="75000"/>
                  </a:srgbClr>
                </a:solidFill>
                <a:latin typeface="Trebuchet MS"/>
              </a:rPr>
              <a:pPr defTabSz="9142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ES" b="0" dirty="0">
              <a:solidFill>
                <a:srgbClr val="000000">
                  <a:tint val="75000"/>
                </a:srgbClr>
              </a:solidFill>
              <a:latin typeface="Trebuchet MS"/>
            </a:endParaRPr>
          </a:p>
        </p:txBody>
      </p:sp>
      <p:pic>
        <p:nvPicPr>
          <p:cNvPr id="3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3954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300457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107284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75003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441904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279106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6130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79278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3" name="Rectangle 3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MX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" name="Rectangle 4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MX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0" y="6742113"/>
            <a:ext cx="9144000" cy="115887"/>
            <a:chOff x="0" y="4247"/>
            <a:chExt cx="5760" cy="73"/>
          </a:xfrm>
        </p:grpSpPr>
        <p:sp>
          <p:nvSpPr>
            <p:cNvPr id="6" name="Rectangle 8"/>
            <p:cNvSpPr>
              <a:spLocks noChangeArrowheads="1"/>
            </p:cNvSpPr>
            <p:nvPr userDrawn="1"/>
          </p:nvSpPr>
          <p:spPr bwMode="auto">
            <a:xfrm>
              <a:off x="0" y="4247"/>
              <a:ext cx="5760" cy="73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MX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9"/>
            <p:cNvSpPr>
              <a:spLocks noChangeArrowheads="1"/>
            </p:cNvSpPr>
            <p:nvPr userDrawn="1"/>
          </p:nvSpPr>
          <p:spPr bwMode="auto">
            <a:xfrm>
              <a:off x="295" y="4247"/>
              <a:ext cx="1088" cy="73"/>
            </a:xfrm>
            <a:prstGeom prst="rect">
              <a:avLst/>
            </a:prstGeom>
            <a:solidFill>
              <a:srgbClr val="0048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MX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5103" y="4247"/>
              <a:ext cx="362" cy="73"/>
            </a:xfrm>
            <a:prstGeom prst="rect">
              <a:avLst/>
            </a:prstGeom>
            <a:solidFill>
              <a:srgbClr val="0048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MX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9" name="Picture 9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488" y="231775"/>
            <a:ext cx="18827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Line 6"/>
          <p:cNvSpPr>
            <a:spLocks noChangeShapeType="1"/>
          </p:cNvSpPr>
          <p:nvPr userDrawn="1"/>
        </p:nvSpPr>
        <p:spPr bwMode="auto">
          <a:xfrm>
            <a:off x="468313" y="1009650"/>
            <a:ext cx="82073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MX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990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59375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13BFF2-EC5A-4B9F-B726-81AAD5238C32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4463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725782" y="274638"/>
            <a:ext cx="5961017" cy="735556"/>
          </a:xfrm>
          <a:prstGeom prst="rect">
            <a:avLst/>
          </a:prstGeom>
        </p:spPr>
        <p:txBody>
          <a:bodyPr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452850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2090783" y="274638"/>
            <a:ext cx="5961017" cy="735556"/>
          </a:xfrm>
          <a:prstGeom prst="rect">
            <a:avLst/>
          </a:prstGeom>
        </p:spPr>
        <p:txBody>
          <a:bodyPr lIns="91427" tIns="45713" rIns="91427" bIns="45713" anchor="ctr"/>
          <a:lstStyle>
            <a:lvl1pPr algn="r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pic>
        <p:nvPicPr>
          <p:cNvPr id="3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8857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8858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7007672" y="6381328"/>
            <a:ext cx="2133600" cy="365125"/>
          </a:xfrm>
          <a:prstGeom prst="rect">
            <a:avLst/>
          </a:prstGeom>
        </p:spPr>
        <p:txBody>
          <a:bodyPr vert="horz" lIns="91427" tIns="45713" rIns="91427" bIns="4571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69">
              <a:defRPr/>
            </a:pPr>
            <a:fld id="{9310D794-F059-4EB5-B005-4A90DE9235C4}" type="slidenum">
              <a:rPr lang="es-ES" b="0" smtClean="0">
                <a:solidFill>
                  <a:srgbClr val="000000">
                    <a:tint val="75000"/>
                  </a:srgbClr>
                </a:solidFill>
                <a:latin typeface="Arial" pitchFamily="34" charset="0"/>
                <a:cs typeface="Arial" pitchFamily="34" charset="0"/>
              </a:rPr>
              <a:pPr defTabSz="914269">
                <a:defRPr/>
              </a:pPr>
              <a:t>‹Nº›</a:t>
            </a:fld>
            <a:endParaRPr lang="es-ES" b="0" dirty="0">
              <a:solidFill>
                <a:srgbClr val="000000">
                  <a:tint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3" descr="C:\Users\Rosario\Desktop\GOTT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429" y="171628"/>
            <a:ext cx="1135070" cy="80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2051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66739" y="274638"/>
            <a:ext cx="7510509" cy="598452"/>
          </a:xfrm>
          <a:prstGeom prst="rect">
            <a:avLst/>
          </a:prstGeom>
        </p:spPr>
        <p:txBody>
          <a:bodyPr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MX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929586" y="6357958"/>
            <a:ext cx="10001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9242C28D-34CF-41A6-9D36-47AE355CC5B9}" type="slidenum">
              <a:rPr lang="es-MX" sz="1800" b="0" smtClean="0">
                <a:solidFill>
                  <a:srgbClr val="000000"/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MX" sz="1800" b="0">
              <a:solidFill>
                <a:srgbClr val="000000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2045788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047250F-0BD9-4EEE-88A1-24722E39E1E7}" type="datetime1">
              <a:rPr lang="es-MX" sz="1800" b="0" smtClean="0">
                <a:solidFill>
                  <a:srgbClr val="000000"/>
                </a:solidFill>
                <a:latin typeface="Trebuchet MS"/>
              </a:rPr>
              <a:t>08/03/2016</a:t>
            </a:fld>
            <a:endParaRPr lang="es-MX" sz="1800" b="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s-MX" sz="1800" b="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929586" y="6357958"/>
            <a:ext cx="10001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9242C28D-34CF-41A6-9D36-47AE355CC5B9}" type="slidenum">
              <a:rPr lang="es-MX" sz="1800" b="0" smtClean="0">
                <a:solidFill>
                  <a:srgbClr val="000000"/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MX" sz="1800" b="0">
              <a:solidFill>
                <a:srgbClr val="000000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70625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188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580" y="1415604"/>
            <a:ext cx="5519254" cy="1869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008313"/>
            <a:ext cx="8185150" cy="1649412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s-ES"/>
              <a:t>Haga clic para cambiar el título	</a:t>
            </a:r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7363" y="4760913"/>
            <a:ext cx="8164512" cy="639762"/>
          </a:xfrm>
        </p:spPr>
        <p:txBody>
          <a:bodyPr/>
          <a:lstStyle>
            <a:lvl1pPr>
              <a:defRPr sz="1200"/>
            </a:lvl1pPr>
          </a:lstStyle>
          <a:p>
            <a:r>
              <a:rPr lang="es-ES"/>
              <a:t>Haga clic para cambiar el área</a:t>
            </a: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529388" y="6035675"/>
            <a:ext cx="2133600" cy="5826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E4725AAC-FD67-4833-BC2B-E948D8CD2762}" type="datetime1">
              <a:rPr lang="es-MX" smtClean="0">
                <a:solidFill>
                  <a:srgbClr val="000000"/>
                </a:solidFill>
              </a:rPr>
              <a:t>08/03/2016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019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6E779-82F4-4CFA-9690-32BAFA7E4EEE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53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FFD2AB-A669-4DE8-B28B-0BC0C9D57DB5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75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06B00-DE78-4BFE-B76C-BCE97ADAF5A7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46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C4A5C-07D4-454F-B90C-034321DB1393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391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67273-0911-4AE7-87E0-3BF8340A1A83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954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5ED92-60D2-4DE0-A5C8-D7A871464A84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914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395536" y="4437112"/>
            <a:ext cx="2133600" cy="365125"/>
          </a:xfrm>
        </p:spPr>
        <p:txBody>
          <a:bodyPr/>
          <a:lstStyle/>
          <a:p>
            <a:fld id="{91EACC18-C2D6-4D07-B202-DC3E6A24C233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77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2590AF-6B14-4919-B9C6-60DF54752C37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76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6A72A-D025-41CE-8423-B6B32B3F8B29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552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42205D-405D-493D-A136-DA34C78EF186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961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47958-56EA-4B50-B786-A49E642EB874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395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3F180-2C26-4208-BF16-325D89F684F8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922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524071-1C43-4657-A4EB-57B27C1DD336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0" y="-24"/>
            <a:ext cx="9144000" cy="1412875"/>
            <a:chOff x="0" y="0"/>
            <a:chExt cx="5760" cy="89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s-MX">
                <a:solidFill>
                  <a:srgbClr val="000000"/>
                </a:solidFill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s-MX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647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E92C84-FFC7-4230-BC3E-3E9BC1FA5715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2862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6F788D-B61A-44AB-B8F0-59497A611178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B5343B2-391A-471D-A379-70423793B34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0" y="-24"/>
            <a:ext cx="9144000" cy="1412875"/>
            <a:chOff x="0" y="0"/>
            <a:chExt cx="5760" cy="89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s-MX">
                <a:solidFill>
                  <a:srgbClr val="000000"/>
                </a:solidFill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s-MX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1632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5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40A0C4-9248-468E-8E94-67B8C918723C}" type="slidenum">
              <a:rPr lang="es-MX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986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07A76-7FFD-4672-887D-212DC9DE5222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4F58D9-D01C-4600-A71C-D60E4EDA99B4}" type="slidenum">
              <a:rPr lang="es-MX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7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3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ES" sz="1800" b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4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s-ES" sz="1800" b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</p:txBody>
        </p:sp>
      </p:grpSp>
      <p:sp>
        <p:nvSpPr>
          <p:cNvPr id="5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5A16F7-AAEC-41DD-B8E0-2D7CA9AF19B7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B12868-9BC9-42BC-A972-592417216807}" type="slidenum">
              <a:rPr lang="es-MX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895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5000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719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5000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F75DAD68-18A2-40C9-8262-ACFFC28FC320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5000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492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3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5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5000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134BA085-12AE-4779-9903-3B19439E16ED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5000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614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5B5343B2-391A-471D-A379-70423793B34B}" type="slidenum">
              <a:rPr lang="es-MX" sz="18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MX" sz="180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331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1BAB1-494B-4C29-875F-4A763BFA3D21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5B5343B2-391A-471D-A379-70423793B34B}" type="slidenum">
              <a:rPr lang="es-MX" sz="18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MX" sz="180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9998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F2580-716B-4545-816A-D0F8B63FC2E1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5B5343B2-391A-471D-A379-70423793B34B}" type="slidenum">
              <a:rPr lang="es-MX" sz="18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MX" sz="180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pSp>
        <p:nvGrpSpPr>
          <p:cNvPr id="6" name="Group 2"/>
          <p:cNvGrpSpPr>
            <a:grpSpLocks/>
          </p:cNvGrpSpPr>
          <p:nvPr userDrawn="1"/>
        </p:nvGrpSpPr>
        <p:grpSpPr bwMode="auto">
          <a:xfrm>
            <a:off x="0" y="-24"/>
            <a:ext cx="9144000" cy="1412875"/>
            <a:chOff x="0" y="0"/>
            <a:chExt cx="5760" cy="89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 sz="1800" b="0">
                <a:solidFill>
                  <a:srgbClr val="00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016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395536" y="4437112"/>
            <a:ext cx="2133600" cy="365125"/>
          </a:xfrm>
        </p:spPr>
        <p:txBody>
          <a:bodyPr/>
          <a:lstStyle/>
          <a:p>
            <a:fld id="{D41A58D9-BFC7-4823-AFAA-3BDBE8C0F75D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004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F442E7-64E1-495E-9221-ABE955E2659D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r>
              <a:rPr lang="es-CO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70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824038" y="485775"/>
            <a:ext cx="7175500" cy="274638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F442E7-64E1-495E-9221-ABE955E2659D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r>
              <a:rPr lang="es-CO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030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90570526"/>
      </p:ext>
    </p:extLst>
  </p:cSld>
  <p:clrMapOvr>
    <a:masterClrMapping/>
  </p:clrMapOvr>
  <p:transition spd="slow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9172732"/>
      </p:ext>
    </p:extLst>
  </p:cSld>
  <p:clrMapOvr>
    <a:masterClrMapping/>
  </p:clrMapOvr>
  <p:transition spd="slow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16149615"/>
      </p:ext>
    </p:extLst>
  </p:cSld>
  <p:clrMapOvr>
    <a:masterClrMapping/>
  </p:clrMapOvr>
  <p:transition spd="slow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82728998"/>
      </p:ext>
    </p:extLst>
  </p:cSld>
  <p:clrMapOvr>
    <a:masterClrMapping/>
  </p:clrMapOvr>
  <p:transition spd="slow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07004844"/>
      </p:ext>
    </p:extLst>
  </p:cSld>
  <p:clrMapOvr>
    <a:masterClrMapping/>
  </p:clrMapOvr>
  <p:transition spd="slow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77339989"/>
      </p:ext>
    </p:extLst>
  </p:cSld>
  <p:clrMapOvr>
    <a:masterClrMapping/>
  </p:clrMapOvr>
  <p:transition spd="slow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108447"/>
      </p:ext>
    </p:extLst>
  </p:cSld>
  <p:clrMapOvr>
    <a:masterClrMapping/>
  </p:clrMapOvr>
  <p:transition spd="slow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76006729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397E-9DB6-4D04-9034-A62D0666DC1A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8763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730269638"/>
      </p:ext>
    </p:extLst>
  </p:cSld>
  <p:clrMapOvr>
    <a:masterClrMapping/>
  </p:clrMapOvr>
  <p:transition spd="slow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51038712"/>
      </p:ext>
    </p:extLst>
  </p:cSld>
  <p:clrMapOvr>
    <a:masterClrMapping/>
  </p:clrMapOvr>
  <p:transition spd="slow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30654251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image" Target="../media/image3.jpeg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image" Target="../media/image2.w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theme" Target="../theme/theme2.xml"/><Relationship Id="rId40" Type="http://schemas.openxmlformats.org/officeDocument/2006/relationships/image" Target="../media/image4.jpe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image" Target="../media/image2.wmf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image" Target="../media/image7.png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theme" Target="../theme/theme3.xml"/><Relationship Id="rId30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 smtClean="0"/>
              <a:t>Haga clic para modificar el estilo de título </a:t>
            </a:r>
            <a:r>
              <a:rPr lang="es-ES" dirty="0" err="1" smtClean="0"/>
              <a:t>delatrón</a:t>
            </a:r>
            <a:endParaRPr lang="es-MX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C85E9E5-AAFC-407D-BA91-3133104DA217}" type="datetime1">
              <a:rPr lang="es-MX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08/03/2016</a:t>
            </a:fld>
            <a:endParaRPr lang="es-MX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s-MX" b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pSp>
        <p:nvGrpSpPr>
          <p:cNvPr id="7" name="Group 1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MX" sz="1800" b="0">
                <a:solidFill>
                  <a:srgbClr val="000000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MX" sz="1800" b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286000" y="274638"/>
            <a:ext cx="64008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auto">
              <a:spcAft>
                <a:spcPts val="0"/>
              </a:spcAft>
              <a:defRPr/>
            </a:pPr>
            <a:endParaRPr lang="es-ES" sz="4400" b="0" dirty="0" smtClea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Line 8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148586" y="1119348"/>
            <a:ext cx="8874125" cy="0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 sz="1000" b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0" y="6742113"/>
            <a:ext cx="9144000" cy="115887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>
              <a:latin typeface="+mn-lt"/>
              <a:cs typeface="+mn-cs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468313" y="6742113"/>
            <a:ext cx="2203450" cy="115887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>
              <a:latin typeface="+mn-lt"/>
              <a:cs typeface="+mn-cs"/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8101013" y="6742113"/>
            <a:ext cx="574675" cy="115887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828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40" r:id="rId16"/>
    <p:sldLayoutId id="2147483724" r:id="rId17"/>
    <p:sldLayoutId id="2147483736" r:id="rId18"/>
    <p:sldLayoutId id="2147483737" r:id="rId1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1"/>
            <a:ext cx="9144000" cy="1412875"/>
            <a:chOff x="0" y="0"/>
            <a:chExt cx="5760" cy="890"/>
          </a:xfrm>
        </p:grpSpPr>
        <p:sp>
          <p:nvSpPr>
            <p:cNvPr id="424963" name="Rectangle 3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4964" name="Rectangle 4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8"/>
          <p:cNvGrpSpPr>
            <a:grpSpLocks/>
          </p:cNvGrpSpPr>
          <p:nvPr/>
        </p:nvGrpSpPr>
        <p:grpSpPr bwMode="auto">
          <a:xfrm>
            <a:off x="0" y="6742114"/>
            <a:ext cx="9144000" cy="115887"/>
            <a:chOff x="0" y="4247"/>
            <a:chExt cx="5760" cy="73"/>
          </a:xfrm>
        </p:grpSpPr>
        <p:sp>
          <p:nvSpPr>
            <p:cNvPr id="424969" name="Rectangle 9"/>
            <p:cNvSpPr>
              <a:spLocks noChangeArrowheads="1"/>
            </p:cNvSpPr>
            <p:nvPr userDrawn="1"/>
          </p:nvSpPr>
          <p:spPr bwMode="auto">
            <a:xfrm>
              <a:off x="0" y="4247"/>
              <a:ext cx="5760" cy="73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4970" name="Rectangle 10"/>
            <p:cNvSpPr>
              <a:spLocks noChangeArrowheads="1"/>
            </p:cNvSpPr>
            <p:nvPr userDrawn="1"/>
          </p:nvSpPr>
          <p:spPr bwMode="auto">
            <a:xfrm>
              <a:off x="295" y="4247"/>
              <a:ext cx="1088" cy="73"/>
            </a:xfrm>
            <a:prstGeom prst="rect">
              <a:avLst/>
            </a:prstGeom>
            <a:solidFill>
              <a:srgbClr val="0048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4971" name="Rectangle 11"/>
            <p:cNvSpPr>
              <a:spLocks noChangeArrowheads="1"/>
            </p:cNvSpPr>
            <p:nvPr userDrawn="1"/>
          </p:nvSpPr>
          <p:spPr bwMode="auto">
            <a:xfrm>
              <a:off x="5103" y="4247"/>
              <a:ext cx="362" cy="73"/>
            </a:xfrm>
            <a:prstGeom prst="rect">
              <a:avLst/>
            </a:prstGeom>
            <a:solidFill>
              <a:srgbClr val="0048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4100" name="Picture 9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117414" y="215856"/>
            <a:ext cx="18827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6"/>
          <p:cNvSpPr>
            <a:spLocks noChangeShapeType="1"/>
          </p:cNvSpPr>
          <p:nvPr/>
        </p:nvSpPr>
        <p:spPr bwMode="auto">
          <a:xfrm>
            <a:off x="336492" y="999024"/>
            <a:ext cx="8424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 dirty="0">
              <a:solidFill>
                <a:srgbClr val="000000"/>
              </a:solidFill>
              <a:latin typeface="Trebuchet MS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059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  <p:sldLayoutId id="2147483807" r:id="rId32"/>
    <p:sldLayoutId id="2147483808" r:id="rId33"/>
    <p:sldLayoutId id="2147483809" r:id="rId34"/>
    <p:sldLayoutId id="2147483810" r:id="rId35"/>
    <p:sldLayoutId id="2147483811" r:id="rId36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5pPr>
      <a:lvl6pPr marL="457135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6pPr>
      <a:lvl7pPr marL="914269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7pPr>
      <a:lvl8pPr marL="137140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8pPr>
      <a:lvl9pPr marL="1828539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9pPr>
    </p:titleStyle>
    <p:bodyStyle>
      <a:lvl1pPr marL="342851" indent="-342851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SzPct val="70000"/>
        <a:buFont typeface="Wingdings" pitchFamily="2" charset="2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657131" indent="-285709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SzPct val="90000"/>
        <a:buFont typeface="Wingdings" pitchFamily="2" charset="2"/>
        <a:buBlip>
          <a:blip r:embed="rId39"/>
        </a:buBlip>
        <a:defRPr sz="2800">
          <a:solidFill>
            <a:schemeClr val="tx1"/>
          </a:solidFill>
          <a:latin typeface="+mn-lt"/>
        </a:defRPr>
      </a:lvl2pPr>
      <a:lvl3pPr marL="1065061" indent="-228567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SzPct val="70000"/>
        <a:buFont typeface="Wingdings" pitchFamily="2" charset="2"/>
        <a:buBlip>
          <a:blip r:embed="rId40"/>
        </a:buBlip>
        <a:defRPr sz="2400">
          <a:solidFill>
            <a:schemeClr val="tx1"/>
          </a:solidFill>
          <a:latin typeface="+mn-lt"/>
        </a:defRPr>
      </a:lvl3pPr>
      <a:lvl4pPr marL="1472990" indent="-228567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SzPct val="90000"/>
        <a:buChar char="•"/>
        <a:defRPr sz="2000">
          <a:solidFill>
            <a:schemeClr val="tx1"/>
          </a:solidFill>
          <a:latin typeface="+mn-lt"/>
        </a:defRPr>
      </a:lvl4pPr>
      <a:lvl5pPr marL="1880919" indent="-228567" algn="l" rtl="0" eaLnBrk="0" fontAlgn="base" hangingPunct="0">
        <a:spcBef>
          <a:spcPct val="20000"/>
        </a:spcBef>
        <a:spcAft>
          <a:spcPct val="30000"/>
        </a:spcAft>
        <a:buClr>
          <a:schemeClr val="bg2"/>
        </a:buClr>
        <a:buSzPct val="90000"/>
        <a:buChar char="•"/>
        <a:defRPr sz="2000">
          <a:solidFill>
            <a:schemeClr val="tx1"/>
          </a:solidFill>
          <a:latin typeface="+mn-lt"/>
        </a:defRPr>
      </a:lvl5pPr>
      <a:lvl6pPr marL="2338054" indent="-228567" algn="l" rtl="0" fontAlgn="base">
        <a:spcBef>
          <a:spcPct val="20000"/>
        </a:spcBef>
        <a:spcAft>
          <a:spcPct val="3000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6pPr>
      <a:lvl7pPr marL="2795189" indent="-228567" algn="l" rtl="0" fontAlgn="base">
        <a:spcBef>
          <a:spcPct val="20000"/>
        </a:spcBef>
        <a:spcAft>
          <a:spcPct val="3000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7pPr>
      <a:lvl8pPr marL="3252324" indent="-228567" algn="l" rtl="0" fontAlgn="base">
        <a:spcBef>
          <a:spcPct val="20000"/>
        </a:spcBef>
        <a:spcAft>
          <a:spcPct val="3000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8pPr>
      <a:lvl9pPr marL="3709459" indent="-228567" algn="l" rtl="0" fontAlgn="base">
        <a:spcBef>
          <a:spcPct val="20000"/>
        </a:spcBef>
        <a:spcAft>
          <a:spcPct val="3000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8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 smtClean="0"/>
              <a:t>Haga clic para modificar el estilo de título </a:t>
            </a:r>
            <a:r>
              <a:rPr lang="es-ES" dirty="0" err="1" smtClean="0"/>
              <a:t>delatrón</a:t>
            </a:r>
            <a:endParaRPr lang="es-MX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MX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D3ADD3-8C7D-4134-A0AD-2BE0BA450A16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t>08/03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11"/>
          <p:cNvGrpSpPr>
            <a:grpSpLocks/>
          </p:cNvGrpSpPr>
          <p:nvPr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es-MX">
                <a:solidFill>
                  <a:srgbClr val="000000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es-MX">
                <a:solidFill>
                  <a:srgbClr val="000000"/>
                </a:solidFill>
              </a:endParaRPr>
            </a:p>
          </p:txBody>
        </p:sp>
      </p:grp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286000" y="274638"/>
            <a:ext cx="64008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auto">
              <a:spcAft>
                <a:spcPts val="0"/>
              </a:spcAft>
              <a:defRPr/>
            </a:pPr>
            <a:endParaRPr lang="es-ES" sz="4400" b="0" dirty="0" smtClea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468313" y="857250"/>
            <a:ext cx="8207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es-MX">
              <a:solidFill>
                <a:srgbClr val="000000"/>
              </a:solidFill>
            </a:endParaRPr>
          </a:p>
        </p:txBody>
      </p:sp>
      <p:pic>
        <p:nvPicPr>
          <p:cNvPr id="18" name="Picture 38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" y="231775"/>
            <a:ext cx="1492250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-648" y="6744541"/>
            <a:ext cx="9153526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Line 8"/>
          <p:cNvSpPr>
            <a:spLocks noChangeShapeType="1"/>
          </p:cNvSpPr>
          <p:nvPr>
            <p:custDataLst>
              <p:tags r:id="rId28"/>
            </p:custDataLst>
          </p:nvPr>
        </p:nvSpPr>
        <p:spPr bwMode="gray">
          <a:xfrm>
            <a:off x="148586" y="850900"/>
            <a:ext cx="8874125" cy="0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s-MX" sz="10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7873239" y="116632"/>
            <a:ext cx="1221617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60731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15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MX" sz="1800" b="0">
                <a:solidFill>
                  <a:srgbClr val="000000"/>
                </a:solidFill>
              </a:endParaRPr>
            </a:p>
          </p:txBody>
        </p:sp>
        <p:sp>
          <p:nvSpPr>
            <p:cNvPr id="16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MX" sz="1800" b="0">
                <a:solidFill>
                  <a:srgbClr val="000000"/>
                </a:solidFill>
              </a:endParaRPr>
            </a:p>
          </p:txBody>
        </p:sp>
      </p:grpSp>
      <p:pic>
        <p:nvPicPr>
          <p:cNvPr id="17" name="Picture 3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456" y="181622"/>
            <a:ext cx="1571515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Line 8"/>
          <p:cNvSpPr>
            <a:spLocks noChangeShapeType="1"/>
          </p:cNvSpPr>
          <p:nvPr userDrawn="1">
            <p:custDataLst>
              <p:tags r:id="rId13"/>
            </p:custDataLst>
          </p:nvPr>
        </p:nvSpPr>
        <p:spPr bwMode="gray">
          <a:xfrm>
            <a:off x="148586" y="850900"/>
            <a:ext cx="8874125" cy="0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 sz="1000" b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18 Imagen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3166" y="130437"/>
            <a:ext cx="1395129" cy="576000"/>
          </a:xfrm>
          <a:prstGeom prst="rect">
            <a:avLst/>
          </a:prstGeom>
        </p:spPr>
      </p:pic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0" y="6742113"/>
            <a:ext cx="9144000" cy="115887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1800" b="0">
              <a:solidFill>
                <a:srgbClr val="000066"/>
              </a:solidFill>
              <a:latin typeface="Arial"/>
            </a:endParaRPr>
          </a:p>
        </p:txBody>
      </p:sp>
      <p:sp>
        <p:nvSpPr>
          <p:cNvPr id="26" name="Rectangle 15"/>
          <p:cNvSpPr>
            <a:spLocks noChangeArrowheads="1"/>
          </p:cNvSpPr>
          <p:nvPr userDrawn="1"/>
        </p:nvSpPr>
        <p:spPr bwMode="auto">
          <a:xfrm>
            <a:off x="468313" y="6742113"/>
            <a:ext cx="2203450" cy="115887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1800" b="0">
              <a:solidFill>
                <a:srgbClr val="000066"/>
              </a:solidFill>
              <a:latin typeface="Arial"/>
            </a:endParaRPr>
          </a:p>
        </p:txBody>
      </p:sp>
      <p:sp>
        <p:nvSpPr>
          <p:cNvPr id="28" name="Rectangle 16"/>
          <p:cNvSpPr>
            <a:spLocks noChangeArrowheads="1"/>
          </p:cNvSpPr>
          <p:nvPr userDrawn="1"/>
        </p:nvSpPr>
        <p:spPr bwMode="auto">
          <a:xfrm>
            <a:off x="8101013" y="6742113"/>
            <a:ext cx="574675" cy="115887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1800" b="0">
              <a:solidFill>
                <a:srgbClr val="00006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938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</p:sldLayoutIdLst>
  <p:transition spd="slow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2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/>
        </p:nvSpPr>
        <p:spPr>
          <a:xfrm>
            <a:off x="428627" y="371181"/>
            <a:ext cx="8817748" cy="338554"/>
          </a:xfrm>
          <a:prstGeom prst="rect">
            <a:avLst/>
          </a:prstGeom>
          <a:noFill/>
          <a:effectLst>
            <a:glow rad="127000">
              <a:srgbClr val="000066"/>
            </a:glow>
          </a:effectLst>
          <a:scene3d>
            <a:camera prst="orthographicFront"/>
            <a:lightRig rig="threePt" dir="t"/>
          </a:scene3d>
          <a:sp3d>
            <a:bevelT w="165100" prst="coolSlant"/>
            <a:bevelB prst="angle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_tradnl" sz="1600" b="0" cap="none" spc="0" dirty="0">
                <a:ln w="10541" cmpd="sng">
                  <a:solidFill>
                    <a:srgbClr val="1072BA"/>
                  </a:solidFill>
                  <a:prstDash val="solid"/>
                </a:ln>
                <a:solidFill>
                  <a:srgbClr val="0000FF"/>
                </a:solidFill>
                <a:effectLst/>
                <a:latin typeface="+mn-lt"/>
                <a:ea typeface="Times New Roman" pitchFamily="18" charset="0"/>
                <a:cs typeface="ZWAdobeF" pitchFamily="2" charset="0"/>
              </a:rPr>
              <a:t>ASOCIACIÓN</a:t>
            </a:r>
            <a:r>
              <a:rPr lang="es-ES_tradnl" sz="1600" b="0" cap="none" spc="0" dirty="0">
                <a:ln w="10541" cmpd="sng">
                  <a:solidFill>
                    <a:srgbClr val="1072BA"/>
                  </a:solidFill>
                  <a:prstDash val="solid"/>
                </a:ln>
                <a:solidFill>
                  <a:srgbClr val="0000FF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 MEXICANA DE INGENIEROS Y TÉCNICOS DE EXPLORACIÓN Y EXPLOTACIÓN DEL PETRÓLEO</a:t>
            </a:r>
            <a:r>
              <a:rPr lang="es-ES" sz="1600" b="0" cap="none" spc="0" dirty="0">
                <a:ln w="10541" cmpd="sng">
                  <a:solidFill>
                    <a:srgbClr val="1072BA"/>
                  </a:solidFill>
                  <a:prstDash val="solid"/>
                </a:ln>
                <a:solidFill>
                  <a:srgbClr val="0000FF"/>
                </a:solidFill>
                <a:effectLst/>
                <a:latin typeface="+mn-lt"/>
                <a:ea typeface="Times New Roman" pitchFamily="18" charset="0"/>
                <a:cs typeface="Times New Roman" pitchFamily="18" charset="0"/>
              </a:rPr>
              <a:t>          </a:t>
            </a:r>
            <a:endParaRPr lang="es-MX" sz="1600" b="0" cap="none" spc="0" dirty="0">
              <a:ln w="10541" cmpd="sng">
                <a:solidFill>
                  <a:srgbClr val="1072BA"/>
                </a:solidFill>
                <a:prstDash val="solid"/>
              </a:ln>
              <a:solidFill>
                <a:srgbClr val="0000FF"/>
              </a:solidFill>
              <a:effectLst/>
              <a:latin typeface="+mn-lt"/>
            </a:endParaRPr>
          </a:p>
        </p:txBody>
      </p:sp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569706700"/>
              </p:ext>
            </p:extLst>
          </p:nvPr>
        </p:nvGraphicFramePr>
        <p:xfrm>
          <a:off x="2260251" y="1238827"/>
          <a:ext cx="6788727" cy="53363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8" r="29605" b="52762"/>
          <a:stretch>
            <a:fillRect/>
          </a:stretch>
        </p:blipFill>
        <p:spPr bwMode="auto">
          <a:xfrm>
            <a:off x="4239479" y="3041258"/>
            <a:ext cx="2020265" cy="17326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54" y="1039033"/>
            <a:ext cx="2351315" cy="1761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3071342" y="6396658"/>
            <a:ext cx="41601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 smtClean="0">
                <a:solidFill>
                  <a:srgbClr val="0000FF"/>
                </a:solidFill>
                <a:latin typeface="Arial Narrow" panose="020B0606020202030204" pitchFamily="34" charset="0"/>
              </a:rPr>
              <a:t>“POR LA SUPERACION DE LA INDUSTRIA PETROLERA”</a:t>
            </a:r>
            <a:endParaRPr lang="es-MX" sz="1400" dirty="0">
              <a:solidFill>
                <a:srgbClr val="0000FF"/>
              </a:solidFill>
              <a:latin typeface="Arial Narrow" panose="020B060602020203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8" r="29605" b="52762"/>
          <a:stretch>
            <a:fillRect/>
          </a:stretch>
        </p:blipFill>
        <p:spPr bwMode="auto">
          <a:xfrm>
            <a:off x="103677" y="340797"/>
            <a:ext cx="388649" cy="3333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10 CuadroTexto"/>
          <p:cNvSpPr txBox="1"/>
          <p:nvPr/>
        </p:nvSpPr>
        <p:spPr>
          <a:xfrm>
            <a:off x="5754291" y="840099"/>
            <a:ext cx="3211135" cy="4616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es-MX" sz="2400" dirty="0" smtClean="0">
                <a:solidFill>
                  <a:srgbClr val="0000FF"/>
                </a:solidFill>
                <a:latin typeface="Myanmar Text" panose="020B0502040204020203" pitchFamily="34" charset="0"/>
                <a:cs typeface="Myanmar Text" panose="020B0502040204020203" pitchFamily="34" charset="0"/>
              </a:rPr>
              <a:t>NUESTROS VALORES</a:t>
            </a:r>
            <a:endParaRPr lang="es-MX" sz="2400" dirty="0">
              <a:solidFill>
                <a:srgbClr val="0000FF"/>
              </a:solidFill>
              <a:latin typeface="Myanmar Text" panose="020B0502040204020203" pitchFamily="34" charset="0"/>
              <a:cs typeface="Myanmar Text" panose="020B0502040204020203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7" y="5750545"/>
            <a:ext cx="762000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65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Tesitavivi\Documents\CPMAS\AMITEEP\10 REUNION 13ENE2016\Nueva carpeta\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37230"/>
            <a:ext cx="8988304" cy="560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2798762" y="6261920"/>
            <a:ext cx="4601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0" dirty="0" smtClean="0">
                <a:solidFill>
                  <a:srgbClr val="0000FF"/>
                </a:solidFill>
                <a:latin typeface="+mj-lt"/>
              </a:rPr>
              <a:t>“POR LA SUPERACION DE LA INDUSTRIA PETROLERA”</a:t>
            </a:r>
            <a:endParaRPr lang="es-MX" sz="1600" b="0" dirty="0">
              <a:solidFill>
                <a:srgbClr val="0000FF"/>
              </a:solidFill>
              <a:latin typeface="+mj-lt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428627" y="234701"/>
            <a:ext cx="8817748" cy="338554"/>
          </a:xfrm>
          <a:prstGeom prst="rect">
            <a:avLst/>
          </a:prstGeom>
          <a:noFill/>
          <a:effectLst>
            <a:glow rad="127000">
              <a:srgbClr val="000066"/>
            </a:glow>
          </a:effectLst>
          <a:scene3d>
            <a:camera prst="orthographicFront"/>
            <a:lightRig rig="threePt" dir="t"/>
          </a:scene3d>
          <a:sp3d>
            <a:bevelT w="165100" prst="coolSlant"/>
            <a:bevelB prst="angle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_tradnl" sz="1600" b="0" cap="none" spc="0" dirty="0">
                <a:ln w="10541" cmpd="sng">
                  <a:solidFill>
                    <a:srgbClr val="1072BA"/>
                  </a:solidFill>
                  <a:prstDash val="solid"/>
                </a:ln>
                <a:solidFill>
                  <a:srgbClr val="FFFF00"/>
                </a:solidFill>
                <a:effectLst/>
                <a:latin typeface="Calibri Light" panose="020F0302020204030204" pitchFamily="34" charset="0"/>
                <a:ea typeface="Times New Roman" pitchFamily="18" charset="0"/>
                <a:cs typeface="ZWAdobeF" pitchFamily="2" charset="0"/>
              </a:rPr>
              <a:t>ASOCIACIÓN</a:t>
            </a:r>
            <a:r>
              <a:rPr lang="es-ES_tradnl" sz="1600" b="0" cap="none" spc="0" dirty="0">
                <a:ln w="10541" cmpd="sng">
                  <a:solidFill>
                    <a:srgbClr val="1072BA"/>
                  </a:solidFill>
                  <a:prstDash val="solid"/>
                </a:ln>
                <a:solidFill>
                  <a:srgbClr val="FFFF00"/>
                </a:solidFill>
                <a:effectLst/>
                <a:latin typeface="Calibri Light" panose="020F0302020204030204" pitchFamily="34" charset="0"/>
                <a:ea typeface="Times New Roman" pitchFamily="18" charset="0"/>
                <a:cs typeface="Arial" pitchFamily="34" charset="0"/>
              </a:rPr>
              <a:t> MEXICANA DE INGENIEROS Y TÉCNICOS DE EXPLORACIÓN Y EXPLOTACIÓN DEL PETRÓLEO</a:t>
            </a:r>
            <a:r>
              <a:rPr lang="es-ES" sz="1600" b="0" cap="none" spc="0" dirty="0">
                <a:ln w="10541" cmpd="sng">
                  <a:solidFill>
                    <a:srgbClr val="1072BA"/>
                  </a:solidFill>
                  <a:prstDash val="solid"/>
                </a:ln>
                <a:solidFill>
                  <a:srgbClr val="FFFF00"/>
                </a:solidFill>
                <a:effectLst/>
                <a:latin typeface="Calibri Light" panose="020F0302020204030204" pitchFamily="34" charset="0"/>
                <a:ea typeface="Times New Roman" pitchFamily="18" charset="0"/>
                <a:cs typeface="Times New Roman" pitchFamily="18" charset="0"/>
              </a:rPr>
              <a:t>          </a:t>
            </a:r>
            <a:endParaRPr lang="es-MX" sz="1600" b="0" cap="none" spc="0" dirty="0">
              <a:ln w="10541" cmpd="sng">
                <a:solidFill>
                  <a:srgbClr val="1072BA"/>
                </a:solidFill>
                <a:prstDash val="solid"/>
              </a:ln>
              <a:solidFill>
                <a:srgbClr val="FFFF00"/>
              </a:solidFill>
              <a:effectLst/>
              <a:latin typeface="Calibri Light" panose="020F030202020403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8" r="29605" b="52762"/>
          <a:stretch>
            <a:fillRect/>
          </a:stretch>
        </p:blipFill>
        <p:spPr bwMode="auto">
          <a:xfrm>
            <a:off x="103677" y="204317"/>
            <a:ext cx="388649" cy="3333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1 Redondear rectángulo de esquina sencilla"/>
          <p:cNvSpPr/>
          <p:nvPr/>
        </p:nvSpPr>
        <p:spPr>
          <a:xfrm>
            <a:off x="40944" y="805219"/>
            <a:ext cx="1473957" cy="409433"/>
          </a:xfrm>
          <a:prstGeom prst="round1Rect">
            <a:avLst/>
          </a:prstGeom>
          <a:solidFill>
            <a:srgbClr val="33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>
                <a:solidFill>
                  <a:srgbClr val="0000CC"/>
                </a:solidFill>
              </a:rPr>
              <a:t>VALORES</a:t>
            </a:r>
            <a:endParaRPr lang="es-MX" sz="1400" dirty="0">
              <a:solidFill>
                <a:srgbClr val="0000CC"/>
              </a:solidFill>
            </a:endParaRPr>
          </a:p>
        </p:txBody>
      </p:sp>
      <p:sp>
        <p:nvSpPr>
          <p:cNvPr id="10" name="9 Redondear rectángulo de esquina sencilla"/>
          <p:cNvSpPr/>
          <p:nvPr/>
        </p:nvSpPr>
        <p:spPr>
          <a:xfrm>
            <a:off x="1584118" y="796120"/>
            <a:ext cx="1418395" cy="409433"/>
          </a:xfrm>
          <a:prstGeom prst="round1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>
                <a:solidFill>
                  <a:srgbClr val="0000CC"/>
                </a:solidFill>
              </a:rPr>
              <a:t>GOBIERNO</a:t>
            </a:r>
            <a:endParaRPr lang="es-MX" sz="1400" dirty="0">
              <a:solidFill>
                <a:srgbClr val="0000CC"/>
              </a:solidFill>
            </a:endParaRPr>
          </a:p>
        </p:txBody>
      </p:sp>
      <p:sp>
        <p:nvSpPr>
          <p:cNvPr id="11" name="10 Redondear rectángulo de esquina sencilla"/>
          <p:cNvSpPr/>
          <p:nvPr/>
        </p:nvSpPr>
        <p:spPr>
          <a:xfrm>
            <a:off x="3002513" y="775648"/>
            <a:ext cx="1722363" cy="409433"/>
          </a:xfrm>
          <a:prstGeom prst="round1Rect">
            <a:avLst/>
          </a:prstGeom>
          <a:solidFill>
            <a:srgbClr val="33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>
                <a:solidFill>
                  <a:srgbClr val="0000CC"/>
                </a:solidFill>
              </a:rPr>
              <a:t>AVISOS Y CONVOCATORIAS </a:t>
            </a:r>
            <a:endParaRPr lang="es-MX" sz="1400" dirty="0">
              <a:solidFill>
                <a:srgbClr val="0000CC"/>
              </a:solidFill>
            </a:endParaRPr>
          </a:p>
        </p:txBody>
      </p:sp>
      <p:sp>
        <p:nvSpPr>
          <p:cNvPr id="12" name="11 Redondear rectángulo de esquina sencilla"/>
          <p:cNvSpPr/>
          <p:nvPr/>
        </p:nvSpPr>
        <p:spPr>
          <a:xfrm>
            <a:off x="4724876" y="796121"/>
            <a:ext cx="1375681" cy="409433"/>
          </a:xfrm>
          <a:prstGeom prst="round1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>
                <a:solidFill>
                  <a:srgbClr val="0000CC"/>
                </a:solidFill>
              </a:rPr>
              <a:t> MENU DOMINICAL</a:t>
            </a:r>
            <a:endParaRPr lang="es-MX" sz="1400" dirty="0">
              <a:solidFill>
                <a:srgbClr val="0000CC"/>
              </a:solidFill>
            </a:endParaRPr>
          </a:p>
        </p:txBody>
      </p:sp>
      <p:sp>
        <p:nvSpPr>
          <p:cNvPr id="13" name="12 Redondear rectángulo de esquina sencilla"/>
          <p:cNvSpPr/>
          <p:nvPr/>
        </p:nvSpPr>
        <p:spPr>
          <a:xfrm>
            <a:off x="6157889" y="796121"/>
            <a:ext cx="1362033" cy="409433"/>
          </a:xfrm>
          <a:prstGeom prst="round1Rect">
            <a:avLst/>
          </a:prstGeom>
          <a:solidFill>
            <a:srgbClr val="33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>
                <a:solidFill>
                  <a:srgbClr val="0000CC"/>
                </a:solidFill>
              </a:rPr>
              <a:t>ADMISION</a:t>
            </a:r>
            <a:endParaRPr lang="es-MX" sz="1400" dirty="0">
              <a:solidFill>
                <a:srgbClr val="0000CC"/>
              </a:solidFill>
            </a:endParaRPr>
          </a:p>
        </p:txBody>
      </p:sp>
      <p:sp>
        <p:nvSpPr>
          <p:cNvPr id="14" name="13 Redondear rectángulo de esquina sencilla"/>
          <p:cNvSpPr/>
          <p:nvPr/>
        </p:nvSpPr>
        <p:spPr>
          <a:xfrm>
            <a:off x="7582587" y="789297"/>
            <a:ext cx="1356699" cy="409433"/>
          </a:xfrm>
          <a:prstGeom prst="round1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 smtClean="0">
                <a:solidFill>
                  <a:srgbClr val="0000CC"/>
                </a:solidFill>
              </a:rPr>
              <a:t>AVISO DE PRIVACIDAD</a:t>
            </a:r>
            <a:endParaRPr lang="es-MX" sz="1400" dirty="0">
              <a:solidFill>
                <a:srgbClr val="0000CC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75" y="3936954"/>
            <a:ext cx="610679" cy="614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022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1301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969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BPMjO706IvGTaVjjX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BPMjO706IvGTaVjjX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BPMjO706IvGTaVjjX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BPMjO706IvGTaVjjXKw"/>
</p:tagLst>
</file>

<file path=ppt/theme/theme1.xml><?xml version="1.0" encoding="utf-8"?>
<a:theme xmlns:a="http://schemas.openxmlformats.org/drawingml/2006/main" name="3_Tema de Office">
  <a:themeElements>
    <a:clrScheme name="Personalizado 31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002060"/>
      </a:hlink>
      <a:folHlink>
        <a:srgbClr val="0020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8_pemex">
  <a:themeElements>
    <a:clrScheme name="1_pemex 13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C0C0C0"/>
      </a:accent1>
      <a:accent2>
        <a:srgbClr val="008000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7300"/>
      </a:accent6>
      <a:hlink>
        <a:srgbClr val="CC3300"/>
      </a:hlink>
      <a:folHlink>
        <a:srgbClr val="5F5F5F"/>
      </a:folHlink>
    </a:clrScheme>
    <a:fontScheme name="1_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emex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mex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mex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mex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mex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emex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emex 1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0C0C0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7300"/>
        </a:accent6>
        <a:hlink>
          <a:srgbClr val="CC33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8_Diseño predeterminado">
  <a:themeElements>
    <a:clrScheme name="Personalizado 29">
      <a:dk1>
        <a:srgbClr val="000066"/>
      </a:dk1>
      <a:lt1>
        <a:srgbClr val="F8F8F8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BFBFB"/>
      </a:accent3>
      <a:accent4>
        <a:srgbClr val="000056"/>
      </a:accent4>
      <a:accent5>
        <a:srgbClr val="DAEDEF"/>
      </a:accent5>
      <a:accent6>
        <a:srgbClr val="2D2D8A"/>
      </a:accent6>
      <a:hlink>
        <a:srgbClr val="161645"/>
      </a:hlink>
      <a:folHlink>
        <a:srgbClr val="161645"/>
      </a:folHlink>
    </a:clrScheme>
    <a:fontScheme name="2_Diseño predetermin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redeterminado 13">
        <a:dk1>
          <a:srgbClr val="000066"/>
        </a:dk1>
        <a:lt1>
          <a:srgbClr val="F8F8F8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BFBFB"/>
        </a:accent3>
        <a:accent4>
          <a:srgbClr val="000056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redeterminado 14">
        <a:dk1>
          <a:srgbClr val="000066"/>
        </a:dk1>
        <a:lt1>
          <a:srgbClr val="F8F8F8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BFBFB"/>
        </a:accent3>
        <a:accent4>
          <a:srgbClr val="000056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900</TotalTime>
  <Words>61</Words>
  <Application>Microsoft Office PowerPoint</Application>
  <PresentationFormat>Presentación en pantalla (4:3)</PresentationFormat>
  <Paragraphs>16</Paragraphs>
  <Slides>4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4</vt:i4>
      </vt:variant>
    </vt:vector>
  </HeadingPairs>
  <TitlesOfParts>
    <vt:vector size="8" baseType="lpstr">
      <vt:lpstr>3_Tema de Office</vt:lpstr>
      <vt:lpstr>48_pemex</vt:lpstr>
      <vt:lpstr>Tema de Office</vt:lpstr>
      <vt:lpstr>48_Diseño predeterminado</vt:lpstr>
      <vt:lpstr>Presentación de PowerPoint</vt:lpstr>
      <vt:lpstr>Presentación de PowerPoint</vt:lpstr>
      <vt:lpstr>Presentación de PowerPoint</vt:lpstr>
      <vt:lpstr>Presentación de PowerPoint</vt:lpstr>
    </vt:vector>
  </TitlesOfParts>
  <Company>PE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PEP</dc:creator>
  <cp:lastModifiedBy>Tesitavivi</cp:lastModifiedBy>
  <cp:revision>6812</cp:revision>
  <cp:lastPrinted>2012-05-21T15:30:29Z</cp:lastPrinted>
  <dcterms:created xsi:type="dcterms:W3CDTF">2006-05-02T18:26:33Z</dcterms:created>
  <dcterms:modified xsi:type="dcterms:W3CDTF">2016-03-08T15:54:45Z</dcterms:modified>
</cp:coreProperties>
</file>